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77" r:id="rId2"/>
  </p:sldMasterIdLst>
  <p:notesMasterIdLst>
    <p:notesMasterId r:id="rId41"/>
  </p:notesMasterIdLst>
  <p:handoutMasterIdLst>
    <p:handoutMasterId r:id="rId42"/>
  </p:handoutMasterIdLst>
  <p:sldIdLst>
    <p:sldId id="409" r:id="rId3"/>
    <p:sldId id="462" r:id="rId4"/>
    <p:sldId id="463" r:id="rId5"/>
    <p:sldId id="461" r:id="rId6"/>
    <p:sldId id="419" r:id="rId7"/>
    <p:sldId id="421" r:id="rId8"/>
    <p:sldId id="300" r:id="rId9"/>
    <p:sldId id="422" r:id="rId10"/>
    <p:sldId id="424" r:id="rId11"/>
    <p:sldId id="425" r:id="rId12"/>
    <p:sldId id="296" r:id="rId13"/>
    <p:sldId id="298" r:id="rId14"/>
    <p:sldId id="307" r:id="rId15"/>
    <p:sldId id="304" r:id="rId16"/>
    <p:sldId id="306" r:id="rId17"/>
    <p:sldId id="308" r:id="rId18"/>
    <p:sldId id="435" r:id="rId19"/>
    <p:sldId id="309" r:id="rId20"/>
    <p:sldId id="314" r:id="rId21"/>
    <p:sldId id="315" r:id="rId22"/>
    <p:sldId id="303" r:id="rId23"/>
    <p:sldId id="311" r:id="rId24"/>
    <p:sldId id="437" r:id="rId25"/>
    <p:sldId id="316" r:id="rId26"/>
    <p:sldId id="322" r:id="rId27"/>
    <p:sldId id="317" r:id="rId28"/>
    <p:sldId id="310" r:id="rId29"/>
    <p:sldId id="323" r:id="rId30"/>
    <p:sldId id="319" r:id="rId31"/>
    <p:sldId id="313" r:id="rId32"/>
    <p:sldId id="321" r:id="rId33"/>
    <p:sldId id="434" r:id="rId34"/>
    <p:sldId id="318" r:id="rId35"/>
    <p:sldId id="320" r:id="rId36"/>
    <p:sldId id="433" r:id="rId37"/>
    <p:sldId id="436" r:id="rId38"/>
    <p:sldId id="352" r:id="rId39"/>
    <p:sldId id="301" r:id="rId40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440">
          <p15:clr>
            <a:srgbClr val="A4A3A4"/>
          </p15:clr>
        </p15:guide>
        <p15:guide id="2" orient="horz" pos="640">
          <p15:clr>
            <a:srgbClr val="A4A3A4"/>
          </p15:clr>
        </p15:guide>
        <p15:guide id="3" orient="horz" pos="712">
          <p15:clr>
            <a:srgbClr val="A4A3A4"/>
          </p15:clr>
        </p15:guide>
        <p15:guide id="4" orient="horz" pos="3928">
          <p15:clr>
            <a:srgbClr val="A4A3A4"/>
          </p15:clr>
        </p15:guide>
        <p15:guide id="5" orient="horz" pos="38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24E0C"/>
    <a:srgbClr val="17ABE3"/>
    <a:srgbClr val="A20000"/>
    <a:srgbClr val="A40000"/>
    <a:srgbClr val="9E0000"/>
    <a:srgbClr val="C7450B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62" autoAdjust="0"/>
    <p:restoredTop sz="94605" autoAdjust="0"/>
  </p:normalViewPr>
  <p:slideViewPr>
    <p:cSldViewPr snapToGrid="0">
      <p:cViewPr varScale="1">
        <p:scale>
          <a:sx n="159" d="100"/>
          <a:sy n="159" d="100"/>
        </p:scale>
        <p:origin x="4386" y="132"/>
      </p:cViewPr>
      <p:guideLst>
        <p:guide pos="5440"/>
        <p:guide orient="horz" pos="640"/>
        <p:guide orient="horz" pos="712"/>
        <p:guide orient="horz" pos="3928"/>
        <p:guide orient="horz" pos="38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presProps" Target="presProp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ableStyles" Target="tableStyles.xml"/><Relationship Id="rId20" Type="http://schemas.openxmlformats.org/officeDocument/2006/relationships/slide" Target="slides/slide18.xml"/><Relationship Id="rId41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2022/5/16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‹#›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阿里巴巴普惠体 R" panose="00020600040101010101" pitchFamily="18" charset="-122"/>
              </a:defRPr>
            </a:lvl1pPr>
          </a:lstStyle>
          <a:p>
            <a:fld id="{E86D8963-CFCD-4740-AF60-049850373CDF}" type="datetimeFigureOut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阿里巴巴普惠体 R" panose="00020600040101010101" pitchFamily="18" charset="-122"/>
              </a:defRPr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156236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457143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552855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128431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157112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制作感谢页（伯禹</a:t>
            </a:r>
            <a:r>
              <a:rPr kumimoji="1" lang="en-US" altLang="zh-CN" dirty="0"/>
              <a:t>logo+</a:t>
            </a:r>
            <a:r>
              <a:rPr kumimoji="1" lang="zh-CN" altLang="en-US" dirty="0"/>
              <a:t>打造</a:t>
            </a:r>
            <a:r>
              <a:rPr kumimoji="1" lang="en-US" altLang="zh-CN" dirty="0"/>
              <a:t>AI</a:t>
            </a:r>
            <a:r>
              <a:rPr kumimoji="1" lang="zh-CN" altLang="en-US" dirty="0"/>
              <a:t>领域的黄埔军校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3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7782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2/5/16</a:t>
            </a:fld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06D5035-281B-48A3-AAEF-370C250ED6CB}"/>
              </a:ext>
            </a:extLst>
          </p:cNvPr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E26BE868-DEDB-446D-8061-DA06019DF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  <p:extLst>
      <p:ext uri="{BB962C8B-B14F-4D97-AF65-F5344CB8AC3E}">
        <p14:creationId xmlns:p14="http://schemas.microsoft.com/office/powerpoint/2010/main" val="10277574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E10A5ED6-BA28-4AB3-9FFA-AD4263DD4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CB87EDC-97F7-4F50-A29C-7C7880825747}"/>
              </a:ext>
            </a:extLst>
          </p:cNvPr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31230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/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/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/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/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2/5/16</a:t>
            </a:fld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 userDrawn="1"/>
        </p:nvSpPr>
        <p:spPr>
          <a:xfrm>
            <a:off x="2983768" y="2782669"/>
            <a:ext cx="33394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00B0F0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THANK YOU</a:t>
            </a:r>
            <a:endParaRPr lang="zh-CN" altLang="en-US" sz="3600" b="1" dirty="0">
              <a:solidFill>
                <a:srgbClr val="00B0F0"/>
              </a:solidFill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186431" y="896645"/>
            <a:ext cx="8708994" cy="355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BCA9E9A2-5D3E-4A6D-98CA-FAD6AF8F5F4B}"/>
              </a:ext>
            </a:extLst>
          </p:cNvPr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292044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D0851EE6-6491-074F-9A62-4AE5D275B554}"/>
              </a:ext>
            </a:extLst>
          </p:cNvPr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F8FCD97E-1210-8E49-A3E6-087A08B4628B}"/>
              </a:ext>
            </a:extLst>
          </p:cNvPr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1EBC602-977D-2E4D-936A-A720A33E5F5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6F59A00-FC52-814E-A4FA-34A355682DE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1F8E2B3-1AF5-E344-9FEB-7D9BBB6B1F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14E4CE0-1183-7E42-9C8E-632D338645F6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9537913-5FDE-4740-ACDA-21BC9AFC23D4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2D1555A-987F-1743-9074-0F1426D22CFF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40BCFD9-ACBE-844E-8E38-48C32DA5031A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DE7C2FB-9784-AB48-823F-3E3087D8251E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17A7512E-A300-6949-8394-88CC02088232}"/>
              </a:ext>
            </a:extLst>
          </p:cNvPr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9635D535-85FB-5F46-8B39-8C156F6830C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9627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83BB3B47-2B46-D249-B092-A9CCE28AAB2F}"/>
              </a:ext>
            </a:extLst>
          </p:cNvPr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CF3102EB-F9B9-1143-9E23-3112F527DD90}"/>
              </a:ext>
            </a:extLst>
          </p:cNvPr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4D84D06-D058-6E4F-822A-0988906D4DD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61A469E-ED3F-5643-941D-D33FA4BF16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023EE441-02DB-0A49-B917-B01072C76C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402934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</p:sldLayoutIdLs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pPr/>
              <a:t>2022/5/16</a:t>
            </a:fld>
            <a:endParaRPr lang="zh-CN" altLang="en-US" dirty="0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4970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2" r:id="rId4"/>
    <p:sldLayoutId id="2147483683" r:id="rId5"/>
  </p:sldLayoutIdLst>
  <p:hf hd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pos="5440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80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.xml"/><Relationship Id="rId6" Type="http://schemas.openxmlformats.org/officeDocument/2006/relationships/image" Target="../media/image11.png"/><Relationship Id="rId5" Type="http://schemas.openxmlformats.org/officeDocument/2006/relationships/image" Target="../media/image9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4.png"/><Relationship Id="rId5" Type="http://schemas.openxmlformats.org/officeDocument/2006/relationships/image" Target="../media/image110.png"/><Relationship Id="rId9" Type="http://schemas.openxmlformats.org/officeDocument/2006/relationships/image" Target="../media/image15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5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7" Type="http://schemas.openxmlformats.org/officeDocument/2006/relationships/image" Target="../media/image170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0.xml"/><Relationship Id="rId6" Type="http://schemas.openxmlformats.org/officeDocument/2006/relationships/image" Target="../media/image181.png"/><Relationship Id="rId11" Type="http://schemas.openxmlformats.org/officeDocument/2006/relationships/image" Target="../media/image18.png"/><Relationship Id="rId5" Type="http://schemas.openxmlformats.org/officeDocument/2006/relationships/image" Target="../media/image171.png"/><Relationship Id="rId9" Type="http://schemas.openxmlformats.org/officeDocument/2006/relationships/image" Target="../media/image19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92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21.png"/><Relationship Id="rId4" Type="http://schemas.openxmlformats.org/officeDocument/2006/relationships/image" Target="../media/image191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7" Type="http://schemas.openxmlformats.org/officeDocument/2006/relationships/image" Target="../media/image30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9.png"/><Relationship Id="rId9" Type="http://schemas.openxmlformats.org/officeDocument/2006/relationships/image" Target="../media/image25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0.png"/><Relationship Id="rId7" Type="http://schemas.openxmlformats.org/officeDocument/2006/relationships/image" Target="../media/image20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30.png"/><Relationship Id="rId5" Type="http://schemas.openxmlformats.org/officeDocument/2006/relationships/image" Target="../media/image220.png"/><Relationship Id="rId4" Type="http://schemas.openxmlformats.org/officeDocument/2006/relationships/image" Target="../media/image210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0.png"/><Relationship Id="rId7" Type="http://schemas.openxmlformats.org/officeDocument/2006/relationships/image" Target="../media/image29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80.png"/><Relationship Id="rId5" Type="http://schemas.openxmlformats.org/officeDocument/2006/relationships/image" Target="../media/image301.png"/><Relationship Id="rId4" Type="http://schemas.openxmlformats.org/officeDocument/2006/relationships/image" Target="../media/image26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7" Type="http://schemas.openxmlformats.org/officeDocument/2006/relationships/image" Target="../media/image39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8.png"/></Relationships>
</file>

<file path=ppt/slides/_rels/slide34.xml.rels><?xml version="1.0" encoding="UTF-8" standalone="yes"?>
<Relationships xmlns="http://schemas.openxmlformats.org/package/2006/relationships"><Relationship Id="rId7" Type="http://schemas.openxmlformats.org/officeDocument/2006/relationships/image" Target="../media/image39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8.png"/></Relationships>
</file>

<file path=ppt/slides/_rels/slide35.xml.rels><?xml version="1.0" encoding="UTF-8" standalone="yes"?>
<Relationships xmlns="http://schemas.openxmlformats.org/package/2006/relationships"><Relationship Id="rId7" Type="http://schemas.openxmlformats.org/officeDocument/2006/relationships/image" Target="../media/image43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13" Type="http://schemas.openxmlformats.org/officeDocument/2006/relationships/image" Target="NULL"/><Relationship Id="rId7" Type="http://schemas.openxmlformats.org/officeDocument/2006/relationships/image" Target="NULL"/><Relationship Id="rId12" Type="http://schemas.openxmlformats.org/officeDocument/2006/relationships/image" Target="NULL"/><Relationship Id="rId17" Type="http://schemas.openxmlformats.org/officeDocument/2006/relationships/image" Target="NULL"/><Relationship Id="rId2" Type="http://schemas.openxmlformats.org/officeDocument/2006/relationships/image" Target="../media/image5.png"/><Relationship Id="rId16" Type="http://schemas.openxmlformats.org/officeDocument/2006/relationships/image" Target="NULL"/><Relationship Id="rId1" Type="http://schemas.openxmlformats.org/officeDocument/2006/relationships/slideLayout" Target="../slideLayouts/slideLayout11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Relationship Id="rId14" Type="http://schemas.openxmlformats.org/officeDocument/2006/relationships/image" Target="NUL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317728" y="4053047"/>
            <a:ext cx="62095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深度强化学习价值方法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3115"/>
            <a:ext cx="5885155" cy="36830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2A218AF-4E0B-46A9-B4FA-11ABC544612C}"/>
              </a:ext>
            </a:extLst>
          </p:cNvPr>
          <p:cNvSpPr txBox="1"/>
          <p:nvPr/>
        </p:nvSpPr>
        <p:spPr>
          <a:xfrm>
            <a:off x="2317728" y="730136"/>
            <a:ext cx="58873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强化学习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2022</a:t>
            </a:r>
          </a:p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第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7</a:t>
            </a:r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节</a:t>
            </a:r>
            <a:endParaRPr lang="zh-CN" altLang="en-US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61290B1-B0B9-4B1B-9B40-8F86C1E93176}"/>
              </a:ext>
            </a:extLst>
          </p:cNvPr>
          <p:cNvSpPr txBox="1"/>
          <p:nvPr/>
        </p:nvSpPr>
        <p:spPr>
          <a:xfrm>
            <a:off x="2324816" y="1785532"/>
            <a:ext cx="549214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涉及知识点：</a:t>
            </a:r>
            <a:endParaRPr lang="en-US" altLang="zh-CN" sz="3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深度强化学习、深度</a:t>
            </a:r>
            <a:r>
              <a:rPr lang="en-US" altLang="zh-CN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Q</a:t>
            </a: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网络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087458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深度强化</a:t>
            </a:r>
            <a:r>
              <a:rPr lang="zh-CN" altLang="en-US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学习的</a:t>
            </a:r>
            <a:r>
              <a:rPr lang="zh-CN" altLang="en-US"/>
              <a:t>分类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2" y="1219983"/>
            <a:ext cx="8487445" cy="4936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b="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于价值的方法</a:t>
            </a:r>
            <a:endParaRPr lang="en-US" altLang="zh-CN" b="0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深度</a:t>
            </a:r>
            <a:r>
              <a:rPr lang="en-US" altLang="zh-CN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Q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网络及其扩展</a:t>
            </a:r>
            <a:endParaRPr lang="en-US" altLang="zh-CN" b="0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于随机策略的方法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用神经网络的策略梯度，自然策略梯度，</a:t>
            </a:r>
            <a:r>
              <a:rPr lang="zh-CN" altLang="en-US" dirty="0"/>
              <a:t>信任区域策略优化（</a:t>
            </a:r>
            <a:r>
              <a:rPr lang="en-US" altLang="zh-CN" dirty="0"/>
              <a:t>TRPO</a:t>
            </a:r>
            <a:r>
              <a:rPr lang="zh-CN" altLang="en-US" dirty="0"/>
              <a:t>），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近端策略优化</a:t>
            </a:r>
            <a:r>
              <a:rPr lang="zh-CN" altLang="en-US" dirty="0"/>
              <a:t>（</a:t>
            </a:r>
            <a:r>
              <a:rPr lang="en-US" altLang="zh-CN" dirty="0"/>
              <a:t>PPO</a:t>
            </a:r>
            <a:r>
              <a:rPr lang="zh-CN" altLang="en-US" dirty="0"/>
              <a:t>），</a:t>
            </a:r>
            <a:r>
              <a:rPr lang="en-US" altLang="zh-CN" dirty="0"/>
              <a:t>A3C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于确定性策略的方法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确定性策略梯度（</a:t>
            </a:r>
            <a:r>
              <a:rPr lang="en-US" altLang="zh-CN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PG</a:t>
            </a:r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，</a:t>
            </a:r>
            <a:r>
              <a:rPr lang="en-US" altLang="zh-CN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DPG</a:t>
            </a:r>
          </a:p>
        </p:txBody>
      </p:sp>
    </p:spTree>
    <p:extLst>
      <p:ext uri="{BB962C8B-B14F-4D97-AF65-F5344CB8AC3E}">
        <p14:creationId xmlns:p14="http://schemas.microsoft.com/office/powerpoint/2010/main" val="18229554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深度</a:t>
            </a:r>
            <a:r>
              <a:rPr lang="en-US" altLang="zh-CN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Q</a:t>
            </a:r>
            <a:r>
              <a:rPr lang="zh-CN" altLang="en-US" sz="4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网络</a:t>
            </a:r>
            <a:endParaRPr lang="zh-CN" altLang="en-US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BED3DF7-FB71-425D-AFE0-12D254584D68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en-US" altLang="zh-CN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876781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4480C692-B31A-0344-BFAA-BF8D473C02A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sp>
        <p:nvSpPr>
          <p:cNvPr id="13" name="文本占位符 3">
            <a:extLst>
              <a:ext uri="{FF2B5EF4-FFF2-40B4-BE49-F238E27FC236}">
                <a16:creationId xmlns:a16="http://schemas.microsoft.com/office/drawing/2014/main" id="{6CFF8168-52EA-4041-999C-A03781529AD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199300" y="2477194"/>
            <a:ext cx="3441065" cy="407781"/>
          </a:xfrm>
        </p:spPr>
        <p:txBody>
          <a:bodyPr anchor="t" anchorCtr="0">
            <a:normAutofit lnSpcReduction="10000"/>
          </a:bodyPr>
          <a:lstStyle/>
          <a:p>
            <a:pPr algn="l"/>
            <a:r>
              <a:rPr kumimoji="1" lang="zh-CN" altLang="en-US"/>
              <a:t>深度</a:t>
            </a:r>
            <a:r>
              <a:rPr kumimoji="1" lang="en-US" altLang="zh-CN"/>
              <a:t>Q</a:t>
            </a:r>
            <a:r>
              <a:rPr kumimoji="1" lang="zh-CN" altLang="en-US"/>
              <a:t>网络（</a:t>
            </a:r>
            <a:r>
              <a:rPr kumimoji="1" lang="en-US" altLang="zh-CN"/>
              <a:t>DQN</a:t>
            </a:r>
            <a:r>
              <a:rPr kumimoji="1" lang="zh-CN" altLang="en-US"/>
              <a:t>）</a:t>
            </a:r>
            <a:endParaRPr kumimoji="1" lang="zh-CN" altLang="en-US" dirty="0"/>
          </a:p>
        </p:txBody>
      </p:sp>
      <p:sp>
        <p:nvSpPr>
          <p:cNvPr id="14" name="文本占位符 4">
            <a:extLst>
              <a:ext uri="{FF2B5EF4-FFF2-40B4-BE49-F238E27FC236}">
                <a16:creationId xmlns:a16="http://schemas.microsoft.com/office/drawing/2014/main" id="{3A06AF6E-4CC5-1448-8068-D29DC14654C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428196" y="2442904"/>
            <a:ext cx="636022" cy="407781"/>
          </a:xfrm>
        </p:spPr>
        <p:txBody>
          <a:bodyPr anchor="t"/>
          <a:lstStyle/>
          <a:p>
            <a:r>
              <a:rPr kumimoji="1" lang="en-US" altLang="zh-CN"/>
              <a:t>01</a:t>
            </a:r>
            <a:endParaRPr kumimoji="1" lang="zh-CN" altLang="en-US" dirty="0"/>
          </a:p>
        </p:txBody>
      </p:sp>
      <p:sp>
        <p:nvSpPr>
          <p:cNvPr id="15" name="文本占位符 5">
            <a:extLst>
              <a:ext uri="{FF2B5EF4-FFF2-40B4-BE49-F238E27FC236}">
                <a16:creationId xmlns:a16="http://schemas.microsoft.com/office/drawing/2014/main" id="{4CCFA1BF-34CB-604A-B62B-AB839F515540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199300" y="3224010"/>
            <a:ext cx="4304918" cy="407781"/>
          </a:xfrm>
        </p:spPr>
        <p:txBody>
          <a:bodyPr anchor="t" anchorCtr="0">
            <a:noAutofit/>
          </a:bodyPr>
          <a:lstStyle/>
          <a:p>
            <a:pPr algn="l"/>
            <a:r>
              <a:rPr kumimoji="1" lang="en-US" altLang="zh-CN" dirty="0"/>
              <a:t>Double DQN</a:t>
            </a:r>
            <a:endParaRPr kumimoji="1" lang="zh-CN" altLang="en-US" dirty="0"/>
          </a:p>
        </p:txBody>
      </p:sp>
      <p:sp>
        <p:nvSpPr>
          <p:cNvPr id="16" name="文本占位符 6">
            <a:extLst>
              <a:ext uri="{FF2B5EF4-FFF2-40B4-BE49-F238E27FC236}">
                <a16:creationId xmlns:a16="http://schemas.microsoft.com/office/drawing/2014/main" id="{B5892E99-D5CB-BA43-A1FD-4A7C92535127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428196" y="3189720"/>
            <a:ext cx="636022" cy="407781"/>
          </a:xfrm>
        </p:spPr>
        <p:txBody>
          <a:bodyPr anchor="t"/>
          <a:lstStyle/>
          <a:p>
            <a:r>
              <a:rPr kumimoji="1" lang="en-US" altLang="zh-CN"/>
              <a:t>02</a:t>
            </a:r>
            <a:endParaRPr kumimoji="1" lang="zh-CN" altLang="en-US" dirty="0"/>
          </a:p>
        </p:txBody>
      </p:sp>
      <p:sp>
        <p:nvSpPr>
          <p:cNvPr id="17" name="文本占位符 7">
            <a:extLst>
              <a:ext uri="{FF2B5EF4-FFF2-40B4-BE49-F238E27FC236}">
                <a16:creationId xmlns:a16="http://schemas.microsoft.com/office/drawing/2014/main" id="{35E19413-6B7B-784E-A6B8-01A75A5FD1C1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5199300" y="3970826"/>
            <a:ext cx="3441065" cy="407781"/>
          </a:xfrm>
        </p:spPr>
        <p:txBody>
          <a:bodyPr anchor="t" anchorCtr="0">
            <a:normAutofit lnSpcReduction="10000"/>
          </a:bodyPr>
          <a:lstStyle/>
          <a:p>
            <a:pPr algn="l"/>
            <a:r>
              <a:rPr kumimoji="1" lang="en-US" altLang="zh-CN" dirty="0"/>
              <a:t>Dueling</a:t>
            </a:r>
            <a:r>
              <a:rPr kumimoji="1" lang="zh-CN" altLang="en-US" dirty="0"/>
              <a:t> </a:t>
            </a:r>
            <a:r>
              <a:rPr kumimoji="1" lang="en-US" altLang="zh-CN" dirty="0"/>
              <a:t>DQN</a:t>
            </a:r>
            <a:endParaRPr kumimoji="1" lang="zh-CN" altLang="en-US" dirty="0"/>
          </a:p>
        </p:txBody>
      </p:sp>
      <p:sp>
        <p:nvSpPr>
          <p:cNvPr id="18" name="文本占位符 8">
            <a:extLst>
              <a:ext uri="{FF2B5EF4-FFF2-40B4-BE49-F238E27FC236}">
                <a16:creationId xmlns:a16="http://schemas.microsoft.com/office/drawing/2014/main" id="{A17EEDD9-C74B-6949-B908-973B6F607D6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4428196" y="3936536"/>
            <a:ext cx="636022" cy="407781"/>
          </a:xfrm>
        </p:spPr>
        <p:txBody>
          <a:bodyPr anchor="t"/>
          <a:lstStyle/>
          <a:p>
            <a:r>
              <a:rPr kumimoji="1" lang="en-US" altLang="zh-CN"/>
              <a:t>03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513519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59726" y="3030585"/>
            <a:ext cx="4388032" cy="1008524"/>
          </a:xfrm>
        </p:spPr>
        <p:txBody>
          <a:bodyPr>
            <a:normAutofit fontScale="90000"/>
          </a:bodyPr>
          <a:lstStyle/>
          <a:p>
            <a:r>
              <a:rPr kumimoji="1" lang="zh-CN" altLang="en-US" dirty="0"/>
              <a:t>深度</a:t>
            </a:r>
            <a:r>
              <a:rPr kumimoji="1" lang="en-US" altLang="zh-CN" dirty="0"/>
              <a:t>Q</a:t>
            </a:r>
            <a:r>
              <a:rPr kumimoji="1" lang="zh-CN" altLang="en-US" dirty="0"/>
              <a:t>网络（</a:t>
            </a:r>
            <a:r>
              <a:rPr kumimoji="1" lang="en-US" altLang="zh-CN" dirty="0"/>
              <a:t>DQN</a:t>
            </a:r>
            <a:r>
              <a:rPr kumimoji="1" lang="zh-CN" altLang="en-US" dirty="0"/>
              <a:t>）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/>
              <a:t>01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934621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Q</a:t>
            </a:r>
            <a:r>
              <a:rPr lang="zh-CN" altLang="en-US" dirty="0"/>
              <a:t> 学习回顾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内容占位符 2">
                <a:extLst>
                  <a:ext uri="{FF2B5EF4-FFF2-40B4-BE49-F238E27FC236}">
                    <a16:creationId xmlns:a16="http://schemas.microsoft.com/office/drawing/2014/main" id="{D010A98A-00D8-48E0-ADE1-A4A57748A7D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1449777"/>
                <a:ext cx="8137922" cy="441561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不直接更新策略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基于值的方法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学习算法学习一个由 </a:t>
                </a:r>
                <a14:m>
                  <m:oMath xmlns:m="http://schemas.openxmlformats.org/officeDocument/2006/math">
                    <m:r>
                      <a:rPr lang="en-US" altLang="zh-CN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作为参数的函数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Target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值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𝑦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t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func>
                      <m:func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max</m:t>
                            </m:r>
                          </m:e>
                          <m:lim>
                            <m:sSup>
                              <m:sSup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𝑎</m:t>
                                </m:r>
                              </m:e>
                              <m:sup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′</m:t>
                                </m:r>
                              </m:sup>
                            </m:sSup>
                          </m:lim>
                        </m:limLow>
                      </m:fName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𝑄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+1</m:t>
                                </m:r>
                              </m:sub>
                            </m:s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sSup>
                              <m:sSup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𝑎</m:t>
                                </m:r>
                              </m:e>
                              <m:sup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′</m:t>
                                </m:r>
                              </m:sup>
                            </m:sSup>
                          </m:e>
                        </m:d>
                      </m:e>
                    </m:func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更新方程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func>
                      <m:func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max</m:t>
                            </m:r>
                          </m:e>
                          <m:lim>
                            <m:sSup>
                              <m:sSup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𝛼</m:t>
                                </m:r>
                              </m:e>
                              <m:sup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′</m:t>
                                </m:r>
                              </m:sup>
                            </m:sSup>
                          </m:lim>
                        </m:limLow>
                      </m:fName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𝑄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+1</m:t>
                                </m:r>
                              </m:sub>
                            </m:s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sSup>
                              <m:sSup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𝑎</m:t>
                                </m:r>
                              </m:e>
                              <m:sup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′</m:t>
                                </m:r>
                              </m:sup>
                            </m:sSup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𝑄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𝑎</m:t>
                                </m:r>
                              </m:e>
                              <m:sub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</m:sub>
                            </m:sSub>
                          </m:e>
                        </m:d>
                      </m:e>
                    </m:func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优化目标 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⋆</m:t>
                          </m:r>
                        </m:sup>
                      </m:sSup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←</m:t>
                      </m:r>
                      <m:func>
                        <m:func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 b="0" i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arg</m:t>
                          </m:r>
                        </m:fName>
                        <m:e>
                          <m:func>
                            <m:func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limLow>
                                <m:limLow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limLow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b="0" i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min</m:t>
                                  </m:r>
                                </m:e>
                                <m:lim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lim>
                              </m:limLow>
                            </m:fName>
                            <m:e>
                              <m:f>
                                <m:fPr>
                                  <m:ctrlPr>
                                    <a:rPr lang="en-US" altLang="zh-CN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2</m:t>
                                  </m:r>
                                </m:den>
                              </m:f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naryPr>
                                <m:sub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m:rPr>
                                              <m:brk m:alnAt="7"/>
                                            </m:r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  <m:sub>
                                          <m:r>
                                            <m:rPr>
                                              <m:brk m:alnAt="7"/>
                                            </m:r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𝑡</m:t>
                                          </m:r>
                                        </m:sub>
                                      </m:sSub>
                                      <m:r>
                                        <m:rPr>
                                          <m:brk m:alnAt="7"/>
                                        </m:r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sSub>
                                        <m:sSub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m:rPr>
                                              <m:brk m:alnAt="7"/>
                                            </m:r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</m:e>
                                        <m:sub>
                                          <m:r>
                                            <m:rPr>
                                              <m:brk m:alnAt="7"/>
                                            </m:r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𝑡</m:t>
                                          </m:r>
                                        </m:sub>
                                      </m:sSub>
                                    </m:e>
                                  </m:d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∈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𝐷</m:t>
                                  </m:r>
                                </m:sub>
                                <m:sup/>
                                <m:e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(</m:t>
                                      </m:r>
                                      <m:sSub>
                                        <m:sSub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𝑄</m:t>
                                          </m:r>
                                        </m:e>
                                        <m: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𝜃</m:t>
                                          </m:r>
                                        </m:sub>
                                      </m:sSub>
                                      <m:d>
                                        <m:d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𝑡</m:t>
                                              </m:r>
                                            </m:sub>
                                          </m:s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,</m:t>
                                          </m:r>
                                          <m:sSub>
                                            <m:sSub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𝑎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𝑡</m:t>
                                              </m:r>
                                            </m:sub>
                                          </m:s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 </m:t>
                                          </m:r>
                                        </m:e>
                                      </m:d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−(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𝑟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+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𝛾</m:t>
                                      </m:r>
                                      <m:func>
                                        <m:func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funcPr>
                                        <m:fName>
                                          <m:limLow>
                                            <m:limLow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limLowPr>
                                            <m:e>
                                              <m:r>
                                                <m:rPr>
                                                  <m:sty m:val="p"/>
                                                </m:rPr>
                                                <a:rPr lang="en-US" altLang="zh-CN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max</m:t>
                                              </m:r>
                                            </m:e>
                                            <m:lim>
                                              <m:sSup>
                                                <m:sSupPr>
                                                  <m:ctrlPr>
                                                    <a:rPr lang="en-US" altLang="zh-CN" i="1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  <a:cs typeface="阿里巴巴普惠体 R" panose="00020600040101010101" pitchFamily="18" charset="-122"/>
                                                    </a:rPr>
                                                  </m:ctrlPr>
                                                </m:sSupPr>
                                                <m:e>
                                                  <m:r>
                                                    <a:rPr lang="en-US" altLang="zh-CN" i="1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  <a:cs typeface="阿里巴巴普惠体 R" panose="00020600040101010101" pitchFamily="18" charset="-122"/>
                                                    </a:rPr>
                                                    <m:t>𝑎</m:t>
                                                  </m:r>
                                                </m:e>
                                                <m:sup>
                                                  <m:r>
                                                    <a:rPr lang="en-US" altLang="zh-CN" i="1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  <a:cs typeface="阿里巴巴普惠体 R" panose="00020600040101010101" pitchFamily="18" charset="-122"/>
                                                    </a:rPr>
                                                    <m:t>′</m:t>
                                                  </m:r>
                                                </m:sup>
                                              </m:sSup>
                                            </m:lim>
                                          </m:limLow>
                                        </m:fName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i="1" smtClean="0">
                                                  <a:solidFill>
                                                    <a:srgbClr val="00B0F0"/>
                                                  </a:solidFill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i="1">
                                                  <a:solidFill>
                                                    <a:srgbClr val="00B0F0"/>
                                                  </a:solidFill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𝑄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i="1">
                                                  <a:solidFill>
                                                    <a:srgbClr val="00B0F0"/>
                                                  </a:solidFill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𝜃</m:t>
                                              </m:r>
                                            </m:sub>
                                          </m:sSub>
                                          <m:d>
                                            <m:dPr>
                                              <m:ctrlPr>
                                                <a:rPr lang="en-US" altLang="zh-CN" i="1">
                                                  <a:solidFill>
                                                    <a:srgbClr val="00B0F0"/>
                                                  </a:solidFill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dPr>
                                            <m:e>
                                              <m:sSub>
                                                <m:sSubPr>
                                                  <m:ctrlPr>
                                                    <a:rPr lang="en-US" altLang="zh-CN" i="1">
                                                      <a:solidFill>
                                                        <a:srgbClr val="00B0F0"/>
                                                      </a:solidFill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  <a:cs typeface="阿里巴巴普惠体 R" panose="00020600040101010101" pitchFamily="18" charset="-122"/>
                                                    </a:rPr>
                                                  </m:ctrlPr>
                                                </m:sSubPr>
                                                <m:e>
                                                  <m:r>
                                                    <a:rPr lang="en-US" altLang="zh-CN" i="1">
                                                      <a:solidFill>
                                                        <a:srgbClr val="00B0F0"/>
                                                      </a:solidFill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  <a:cs typeface="阿里巴巴普惠体 R" panose="00020600040101010101" pitchFamily="18" charset="-122"/>
                                                    </a:rPr>
                                                    <m:t>𝑠</m:t>
                                                  </m:r>
                                                </m:e>
                                                <m:sub>
                                                  <m:r>
                                                    <a:rPr lang="en-US" altLang="zh-CN" i="1">
                                                      <a:solidFill>
                                                        <a:srgbClr val="00B0F0"/>
                                                      </a:solidFill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  <a:cs typeface="阿里巴巴普惠体 R" panose="00020600040101010101" pitchFamily="18" charset="-122"/>
                                                    </a:rPr>
                                                    <m:t>𝑡</m:t>
                                                  </m:r>
                                                  <m:r>
                                                    <a:rPr lang="en-US" altLang="zh-CN" i="1">
                                                      <a:solidFill>
                                                        <a:srgbClr val="00B0F0"/>
                                                      </a:solidFill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  <a:cs typeface="阿里巴巴普惠体 R" panose="00020600040101010101" pitchFamily="18" charset="-122"/>
                                                    </a:rPr>
                                                    <m:t>+1</m:t>
                                                  </m:r>
                                                </m:sub>
                                              </m:sSub>
                                              <m:r>
                                                <a:rPr lang="en-US" altLang="zh-CN" i="1">
                                                  <a:solidFill>
                                                    <a:srgbClr val="00B0F0"/>
                                                  </a:solidFill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,</m:t>
                                              </m:r>
                                              <m:sSup>
                                                <m:sSupPr>
                                                  <m:ctrlPr>
                                                    <a:rPr lang="en-US" altLang="zh-CN" i="1">
                                                      <a:solidFill>
                                                        <a:srgbClr val="00B0F0"/>
                                                      </a:solidFill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  <a:cs typeface="阿里巴巴普惠体 R" panose="00020600040101010101" pitchFamily="18" charset="-122"/>
                                                    </a:rPr>
                                                  </m:ctrlPr>
                                                </m:sSupPr>
                                                <m:e>
                                                  <m:r>
                                                    <a:rPr lang="en-US" altLang="zh-CN" i="1">
                                                      <a:solidFill>
                                                        <a:srgbClr val="00B0F0"/>
                                                      </a:solidFill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  <a:cs typeface="阿里巴巴普惠体 R" panose="00020600040101010101" pitchFamily="18" charset="-122"/>
                                                    </a:rPr>
                                                    <m:t>𝑎</m:t>
                                                  </m:r>
                                                </m:e>
                                                <m:sup>
                                                  <m:r>
                                                    <a:rPr lang="en-US" altLang="zh-CN" i="1">
                                                      <a:solidFill>
                                                        <a:srgbClr val="00B0F0"/>
                                                      </a:solidFill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  <a:cs typeface="阿里巴巴普惠体 R" panose="00020600040101010101" pitchFamily="18" charset="-122"/>
                                                    </a:rPr>
                                                    <m:t>′</m:t>
                                                  </m:r>
                                                </m:sup>
                                              </m:sSup>
                                            </m:e>
                                          </m:d>
                                        </m:e>
                                      </m:func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)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)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nary>
                            </m:e>
                          </m:func>
                        </m:e>
                      </m:func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7" name="内容占位符 2">
                <a:extLst>
                  <a:ext uri="{FF2B5EF4-FFF2-40B4-BE49-F238E27FC236}">
                    <a16:creationId xmlns:a16="http://schemas.microsoft.com/office/drawing/2014/main" id="{D010A98A-00D8-48E0-ADE1-A4A57748A7D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449777"/>
                <a:ext cx="8137922" cy="4415618"/>
              </a:xfrm>
              <a:prstGeom prst="rect">
                <a:avLst/>
              </a:prstGeom>
              <a:blipFill>
                <a:blip r:embed="rId4"/>
                <a:stretch>
                  <a:fillRect l="-449" t="-82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文本框 2">
            <a:extLst>
              <a:ext uri="{FF2B5EF4-FFF2-40B4-BE49-F238E27FC236}">
                <a16:creationId xmlns:a16="http://schemas.microsoft.com/office/drawing/2014/main" id="{E2C2D9AC-FB3D-48FF-9481-AE47959F15F1}"/>
              </a:ext>
            </a:extLst>
          </p:cNvPr>
          <p:cNvSpPr txBox="1"/>
          <p:nvPr/>
        </p:nvSpPr>
        <p:spPr>
          <a:xfrm>
            <a:off x="6033837" y="5408223"/>
            <a:ext cx="9541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solidFill>
                  <a:srgbClr val="00B0F0"/>
                </a:solidFill>
              </a:rPr>
              <a:t>此处无梯度</a:t>
            </a:r>
          </a:p>
        </p:txBody>
      </p:sp>
    </p:spTree>
    <p:extLst>
      <p:ext uri="{BB962C8B-B14F-4D97-AF65-F5344CB8AC3E}">
        <p14:creationId xmlns:p14="http://schemas.microsoft.com/office/powerpoint/2010/main" val="20319006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深度</a:t>
            </a:r>
            <a:r>
              <a:rPr lang="en-US" altLang="zh-CN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Q</a:t>
            </a:r>
            <a:r>
              <a:rPr lang="zh-CN" altLang="en-US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网络（</a:t>
            </a:r>
            <a:r>
              <a:rPr lang="en-US" altLang="zh-CN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DQN</a:t>
            </a:r>
            <a:r>
              <a:rPr lang="zh-CN" altLang="en-US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）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02437" y="6382800"/>
            <a:ext cx="7496248" cy="128089"/>
          </a:xfrm>
        </p:spPr>
        <p:txBody>
          <a:bodyPr/>
          <a:lstStyle/>
          <a:p>
            <a:r>
              <a:rPr lang="en-US" altLang="zh-CN" dirty="0" err="1"/>
              <a:t>Mnih</a:t>
            </a:r>
            <a:r>
              <a:rPr lang="en-US" altLang="zh-CN" dirty="0"/>
              <a:t>, </a:t>
            </a:r>
            <a:r>
              <a:rPr lang="en-US" altLang="zh-CN" dirty="0" err="1"/>
              <a:t>Kavukcuoglu</a:t>
            </a:r>
            <a:r>
              <a:rPr lang="en-US" altLang="zh-CN" dirty="0"/>
              <a:t>, Silver et al. Human-Level Control Through Deep Reinforcement Learning. Nature 2015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 dirty="0"/>
          </a:p>
        </p:txBody>
      </p:sp>
      <p:sp>
        <p:nvSpPr>
          <p:cNvPr id="5" name="文本占位符 3 1">
            <a:extLst>
              <a:ext uri="{FF2B5EF4-FFF2-40B4-BE49-F238E27FC236}">
                <a16:creationId xmlns:a16="http://schemas.microsoft.com/office/drawing/2014/main" id="{BA8BB5BE-7181-BE46-AD89-DA62294A69F2}"/>
              </a:ext>
            </a:extLst>
          </p:cNvPr>
          <p:cNvSpPr txBox="1">
            <a:spLocks/>
          </p:cNvSpPr>
          <p:nvPr/>
        </p:nvSpPr>
        <p:spPr>
          <a:xfrm>
            <a:off x="502444" y="1374739"/>
            <a:ext cx="1363301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直观想法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 1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938727"/>
                <a:ext cx="8207450" cy="220614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使用神经网络来逼近上述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</m:d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算法不稳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连续采样得到的 </a:t>
                </a:r>
                <a14:m>
                  <m:oMath xmlns:m="http://schemas.openxmlformats.org/officeDocument/2006/math">
                    <m:r>
                      <a:rPr lang="pt-BR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{(</m:t>
                    </m:r>
                    <m:sSub>
                      <m:sSubPr>
                        <m:ctrlPr>
                          <a:rPr lang="pt-BR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pt-BR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pt-BR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pt-BR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pt-BR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pt-BR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pt-BR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pt-BR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pt-BR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pt-BR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  <m:r>
                      <a:rPr lang="pt-BR" altLang="zh-CN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}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不满足独立分布。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/>
                <a14:m>
                  <m:oMath xmlns:m="http://schemas.openxmlformats.org/officeDocument/2006/math">
                    <m:r>
                      <a:rPr lang="pt-BR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{(</m:t>
                    </m:r>
                    <m:sSub>
                      <m:sSubPr>
                        <m:ctrlPr>
                          <a:rPr lang="pt-BR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pt-BR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pt-BR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pt-BR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pt-BR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pt-BR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pt-BR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pt-BR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pt-BR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pt-BR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}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为状态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动作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下一状态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回报输入。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/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</m:d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的频繁更新。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 1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938727"/>
                <a:ext cx="8207450" cy="2206149"/>
              </a:xfrm>
              <a:prstGeom prst="rect">
                <a:avLst/>
              </a:prstGeom>
              <a:blipFill>
                <a:blip r:embed="rId4"/>
                <a:stretch>
                  <a:fillRect l="-445" t="-138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文本占位符 3 2">
            <a:extLst>
              <a:ext uri="{FF2B5EF4-FFF2-40B4-BE49-F238E27FC236}">
                <a16:creationId xmlns:a16="http://schemas.microsoft.com/office/drawing/2014/main" id="{AEE88271-7CDF-7649-A250-C3D8ED399413}"/>
              </a:ext>
            </a:extLst>
          </p:cNvPr>
          <p:cNvSpPr txBox="1">
            <a:spLocks/>
          </p:cNvSpPr>
          <p:nvPr/>
        </p:nvSpPr>
        <p:spPr>
          <a:xfrm>
            <a:off x="502442" y="3688278"/>
            <a:ext cx="1363303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解决办法</a:t>
            </a:r>
          </a:p>
        </p:txBody>
      </p:sp>
      <p:sp>
        <p:nvSpPr>
          <p:cNvPr id="10" name="内容占位符 2 2">
            <a:extLst>
              <a:ext uri="{FF2B5EF4-FFF2-40B4-BE49-F238E27FC236}">
                <a16:creationId xmlns:a16="http://schemas.microsoft.com/office/drawing/2014/main" id="{CDCAA332-9D4F-724E-8817-25287613A799}"/>
              </a:ext>
            </a:extLst>
          </p:cNvPr>
          <p:cNvSpPr txBox="1">
            <a:spLocks/>
          </p:cNvSpPr>
          <p:nvPr/>
        </p:nvSpPr>
        <p:spPr>
          <a:xfrm>
            <a:off x="502438" y="4264735"/>
            <a:ext cx="7496247" cy="15443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经验回放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用双网络结构：评估网络（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evaluation network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和目标网络（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target network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627201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经验回放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02442" y="6382800"/>
            <a:ext cx="5131740" cy="128089"/>
          </a:xfrm>
        </p:spPr>
        <p:txBody>
          <a:bodyPr/>
          <a:lstStyle/>
          <a:p>
            <a:r>
              <a:rPr lang="en-US" altLang="zh-CN" dirty="0" err="1"/>
              <a:t>Schaul</a:t>
            </a:r>
            <a:r>
              <a:rPr lang="en-US" altLang="zh-CN" dirty="0"/>
              <a:t> et al. Prioritized Experience Replay. ICLR 2016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 1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188205"/>
                <a:ext cx="8137922" cy="117396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经验回放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存储训练过程中的每一步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𝑒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r>
                      <a:rPr lang="pt-BR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pt-BR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pt-BR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pt-BR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pt-BR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pt-BR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pt-BR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pt-BR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pt-BR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pt-BR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于数据库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𝐷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中，采样时服从均匀分布。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 1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188205"/>
                <a:ext cx="8137922" cy="1173961"/>
              </a:xfrm>
              <a:prstGeom prst="rect">
                <a:avLst/>
              </a:prstGeom>
              <a:blipFill>
                <a:blip r:embed="rId5"/>
                <a:stretch>
                  <a:fillRect l="-449" t="-312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文本占位符 3 2">
            <a:extLst>
              <a:ext uri="{FF2B5EF4-FFF2-40B4-BE49-F238E27FC236}">
                <a16:creationId xmlns:a16="http://schemas.microsoft.com/office/drawing/2014/main" id="{AEE88271-7CDF-7649-A250-C3D8ED399413}"/>
              </a:ext>
            </a:extLst>
          </p:cNvPr>
          <p:cNvSpPr txBox="1">
            <a:spLocks/>
          </p:cNvSpPr>
          <p:nvPr/>
        </p:nvSpPr>
        <p:spPr>
          <a:xfrm>
            <a:off x="502444" y="2521672"/>
            <a:ext cx="1899011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优先经验回放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内容占位符 2 2">
                <a:extLst>
                  <a:ext uri="{FF2B5EF4-FFF2-40B4-BE49-F238E27FC236}">
                    <a16:creationId xmlns:a16="http://schemas.microsoft.com/office/drawing/2014/main" id="{CDCAA332-9D4F-724E-8817-25287613A7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3084993"/>
                <a:ext cx="8778036" cy="303958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85000" lnSpcReduction="1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衡量标准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spcAft>
                    <a:spcPts val="600"/>
                  </a:spcAft>
                </a:pP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以 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函数的值与 </a:t>
                </a:r>
                <a:r>
                  <a:rPr lang="en-US" altLang="zh-CN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Target </a:t>
                </a: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值的差异来衡量学习的价值，即</a:t>
                </a: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spcBef>
                    <a:spcPts val="1200"/>
                  </a:spcBef>
                  <a:spcAft>
                    <a:spcPts val="6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it-IT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𝑝</m:t>
                          </m:r>
                        </m:e>
                        <m:sub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it-IT" altLang="zh-CN" sz="16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 |</m:t>
                      </m:r>
                      <m:sSub>
                        <m:sSubPr>
                          <m:ctrlPr>
                            <a:rPr lang="it-IT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it-IT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𝑟</m:t>
                          </m:r>
                        </m:e>
                        <m:sub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it-IT" altLang="zh-CN" sz="16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it-IT" altLang="zh-CN" sz="160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𝛾</m:t>
                      </m:r>
                      <m:limLow>
                        <m:limLowPr>
                          <m:ctrlP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limLowPr>
                        <m:e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max</m:t>
                          </m:r>
                        </m:e>
                        <m:lim>
                          <m:sSup>
                            <m:sSupPr>
                              <m:ctrlP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</m:lim>
                      </m:limLow>
                      <m:sSub>
                        <m:sSubPr>
                          <m:ctrlPr>
                            <a:rPr lang="it-IT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it-IT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b>
                          <m:r>
                            <a:rPr lang="it-IT" altLang="zh-CN" sz="160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it-IT" altLang="zh-CN" sz="160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1</m:t>
                              </m:r>
                            </m:sub>
                          </m:sSub>
                          <m:r>
                            <a:rPr lang="it-IT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</m:e>
                      </m:d>
                      <m:r>
                        <a:rPr lang="it-IT" altLang="zh-CN" sz="16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sSub>
                        <m:sSubPr>
                          <m:ctrlPr>
                            <a:rPr lang="it-IT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it-IT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b>
                          <m:r>
                            <a:rPr lang="it-IT" altLang="zh-CN" sz="160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it-IT" altLang="zh-CN" sz="160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it-IT" altLang="zh-CN" sz="160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it-IT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it-IT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 </m:t>
                          </m:r>
                          <m:sSub>
                            <m:sSubPr>
                              <m:ctrlPr>
                                <a:rPr lang="it-IT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it-IT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sz="16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|</m:t>
                      </m:r>
                    </m:oMath>
                  </m:oMathPara>
                </a14:m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了使各样本都有机会被采样，存储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4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4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𝑒</m:t>
                        </m:r>
                      </m:e>
                      <m:sub>
                        <m:r>
                          <a:rPr lang="en-US" altLang="zh-CN" sz="14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sz="14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r>
                      <a:rPr lang="pt-BR" altLang="zh-CN" sz="14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pt-BR" altLang="zh-CN" sz="14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pt-BR" altLang="zh-CN" sz="14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sz="14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pt-BR" altLang="zh-CN" sz="14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pt-BR" altLang="zh-CN" sz="14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pt-BR" altLang="zh-CN" sz="14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sz="14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pt-BR" altLang="zh-CN" sz="14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sz="14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4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sz="14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sz="14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pt-BR" altLang="zh-CN" sz="14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pt-BR" altLang="zh-CN" sz="14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pt-BR" altLang="zh-CN" sz="14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sz="14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sz="14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sz="14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4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</m:e>
                      <m:sub>
                        <m:r>
                          <a:rPr lang="en-US" altLang="zh-CN" sz="14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sz="14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sz="14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𝜖</m:t>
                    </m:r>
                    <m:r>
                      <a:rPr lang="pt-BR" altLang="zh-CN" sz="14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  <m:r>
                      <a:rPr lang="zh-CN" altLang="en-US" sz="14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。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                                                      </a:t>
                </a: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选中的概率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样本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6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𝑒</m:t>
                        </m:r>
                      </m:e>
                      <m: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被选中的概率为 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𝑃</m:t>
                    </m:r>
                    <m:d>
                      <m:d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e>
                    </m:d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f>
                      <m:f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Pr>
                      <m:num>
                        <m:sSubSup>
                          <m:sSubSup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SupPr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𝑝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  <m:sup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𝛼</m:t>
                            </m:r>
                          </m:sup>
                        </m:sSubSup>
                      </m:num>
                      <m:den>
                        <m:nary>
                          <m:naryPr>
                            <m:chr m:val="∑"/>
                            <m:supHide m:val="on"/>
                            <m:ctrlPr>
                              <a:rPr lang="en-US" altLang="zh-CN" sz="16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naryPr>
                          <m:sub>
                            <m:r>
                              <a:rPr lang="en-US" altLang="zh-CN" sz="160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𝑘</m:t>
                            </m:r>
                          </m:sub>
                          <m:sup/>
                          <m:e>
                            <m:sSubSup>
                              <m:sSubSupPr>
                                <m:ctrlP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SupPr>
                              <m:e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𝑝</m:t>
                                </m:r>
                              </m:e>
                              <m:sub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𝑘</m:t>
                                </m:r>
                              </m:sub>
                              <m:sup>
                                <m:r>
                                  <a:rPr lang="en-US" altLang="zh-CN" sz="16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𝛼</m:t>
                                </m:r>
                              </m:sup>
                            </m:sSubSup>
                          </m:e>
                        </m:nary>
                      </m:den>
                    </m:f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。</a:t>
                </a: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重要性采样（</a:t>
                </a:r>
                <a:r>
                  <a:rPr lang="en-US" altLang="zh-CN" sz="1800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Importance Sampling</a:t>
                </a: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权重为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𝜔</m:t>
                        </m:r>
                      </m:e>
                      <m: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f>
                      <m:f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𝑁</m:t>
                                </m:r>
                                <m: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×</m:t>
                                </m:r>
                                <m: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𝑃</m:t>
                                </m:r>
                                <m:d>
                                  <m:dPr>
                                    <m:ctrlPr>
                                      <a:rPr lang="en-US" altLang="zh-CN" sz="1600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sz="1600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𝑡</m:t>
                                    </m:r>
                                  </m:e>
                                </m:d>
                              </m:e>
                            </m:d>
                          </m:e>
                          <m:sup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−</m:t>
                            </m:r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𝛽</m:t>
                            </m:r>
                          </m:sup>
                        </m:sSup>
                      </m:num>
                      <m:den>
                        <m:limLow>
                          <m:limLow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 sz="1600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max</m:t>
                            </m:r>
                          </m:e>
                          <m:lim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𝑖</m:t>
                            </m:r>
                          </m:lim>
                        </m:limLow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 </m:t>
                        </m:r>
                        <m:sSub>
                          <m:sSub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𝜔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𝑖</m:t>
                            </m:r>
                          </m:sub>
                        </m:sSub>
                      </m:den>
                    </m:f>
                  </m:oMath>
                </a14:m>
                <a:endPara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" name="内容占位符 2 2">
                <a:extLst>
                  <a:ext uri="{FF2B5EF4-FFF2-40B4-BE49-F238E27FC236}">
                    <a16:creationId xmlns:a16="http://schemas.microsoft.com/office/drawing/2014/main" id="{CDCAA332-9D4F-724E-8817-25287613A7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3084993"/>
                <a:ext cx="8778036" cy="3039582"/>
              </a:xfrm>
              <a:prstGeom prst="rect">
                <a:avLst/>
              </a:prstGeom>
              <a:blipFill>
                <a:blip r:embed="rId6"/>
                <a:stretch>
                  <a:fillRect l="-69" t="-120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15491844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经验回放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28B10257-B5E8-4FC4-BAAC-38B3B3FB0A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510" y="1276485"/>
            <a:ext cx="8109855" cy="4716193"/>
          </a:xfrm>
          <a:prstGeom prst="rect">
            <a:avLst/>
          </a:prstGeom>
        </p:spPr>
      </p:pic>
      <p:sp>
        <p:nvSpPr>
          <p:cNvPr id="6" name="页脚占位符 2">
            <a:extLst>
              <a:ext uri="{FF2B5EF4-FFF2-40B4-BE49-F238E27FC236}">
                <a16:creationId xmlns:a16="http://schemas.microsoft.com/office/drawing/2014/main" id="{70DE0E19-D3C5-721D-ACD7-3E5DC04773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2" y="6382800"/>
            <a:ext cx="5131740" cy="128089"/>
          </a:xfrm>
        </p:spPr>
        <p:txBody>
          <a:bodyPr/>
          <a:lstStyle/>
          <a:p>
            <a:r>
              <a:rPr lang="en-US" altLang="zh-CN" dirty="0" err="1"/>
              <a:t>Schaul</a:t>
            </a:r>
            <a:r>
              <a:rPr lang="en-US" altLang="zh-CN" dirty="0"/>
              <a:t> et al. Prioritized Experience Replay. ICLR 2016.</a:t>
            </a:r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525875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目标网络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 1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1328664"/>
                <a:ext cx="8382940" cy="139559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目标网络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</m:e>
                      <m:sub>
                        <m:sSup>
                          <m:sSupPr>
                            <m:ctrlP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e>
                          <m:sup>
                            <m:r>
                              <a:rPr lang="en-US" altLang="zh-CN" sz="18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−</m:t>
                            </m:r>
                          </m:sup>
                        </m:sSup>
                      </m:sub>
                    </m:sSub>
                    <m:d>
                      <m:dPr>
                        <m:ctrlP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  <m: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sz="18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</m:d>
                  </m:oMath>
                </a14:m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使用较旧的参数，记为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16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zh-CN" altLang="en-US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e>
                      <m:sup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</m:sup>
                    </m:sSup>
                    <m:r>
                      <a:rPr lang="zh-CN" altLang="en-US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，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每隔 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𝐶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步和训练网络的参数同步一次。</a:t>
                </a: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第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𝑖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次迭代的损失函数为 </a:t>
                </a: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 1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328664"/>
                <a:ext cx="8382940" cy="1395599"/>
              </a:xfrm>
              <a:prstGeom prst="rect">
                <a:avLst/>
              </a:prstGeom>
              <a:blipFill>
                <a:blip r:embed="rId5"/>
                <a:stretch>
                  <a:fillRect l="-291" t="-218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2AC64D4D-F6A5-4901-8EA4-FD5E2AB7DCB6}"/>
                  </a:ext>
                </a:extLst>
              </p:cNvPr>
              <p:cNvSpPr txBox="1"/>
              <p:nvPr/>
            </p:nvSpPr>
            <p:spPr>
              <a:xfrm>
                <a:off x="807492" y="2310297"/>
                <a:ext cx="7130093" cy="100200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𝐿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𝑖</m:t>
                            </m:r>
                          </m:sub>
                        </m:sSub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𝔼</m:t>
                        </m:r>
                      </m:e>
                      <m:sub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+1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𝑟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𝑝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∼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𝐷</m:t>
                        </m:r>
                      </m:sub>
                    </m:sSub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[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f>
                          <m:f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fPr>
                          <m:num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</m:t>
                            </m:r>
                          </m:num>
                          <m:den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2</m:t>
                            </m:r>
                          </m:den>
                        </m:f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𝜔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(</a:t>
                </a:r>
                <a14:m>
                  <m:oMath xmlns:m="http://schemas.openxmlformats.org/officeDocument/2006/math">
                    <m:limLow>
                      <m:limLow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limLowPr>
                      <m:e>
                        <m:groupChr>
                          <m:groupChrPr>
                            <m:chr m:val="⏟"/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groupChrPr>
                          <m:e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𝑟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+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𝛾</m:t>
                            </m:r>
                            <m:func>
                              <m:func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funcPr>
                              <m:fName>
                                <m:limLow>
                                  <m:limLow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limLow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altLang="zh-CN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max</m:t>
                                    </m:r>
                                  </m:e>
                                  <m:lim>
                                    <m:sSup>
                                      <m:sSup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𝑎</m:t>
                                        </m:r>
                                      </m:e>
                                      <m:sup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′</m:t>
                                        </m:r>
                                      </m:sup>
                                    </m:sSup>
                                  </m:lim>
                                </m:limLow>
                              </m:fName>
                              <m:e>
                                <m:sSub>
                                  <m:sSub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𝑄</m:t>
                                    </m:r>
                                  </m:e>
                                  <m:sub>
                                    <m:sSubSup>
                                      <m:sSubSup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𝜃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𝑖</m:t>
                                        </m:r>
                                      </m:sub>
                                      <m:sup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−</m:t>
                                        </m:r>
                                      </m:sup>
                                    </m:sSubSup>
                                  </m:sub>
                                </m:sSub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𝑡</m:t>
                                        </m:r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+1</m:t>
                                        </m:r>
                                      </m:sub>
                                    </m:s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,</m:t>
                                    </m:r>
                                    <m:sSup>
                                      <m:sSup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𝑎</m:t>
                                        </m:r>
                                      </m:e>
                                      <m:sup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′</m:t>
                                        </m:r>
                                      </m:sup>
                                    </m:sSup>
                                  </m:e>
                                </m:d>
                              </m:e>
                            </m:func>
                          </m:e>
                        </m:groupChr>
                      </m:e>
                      <m:lim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𝑎𝑟𝑔𝑒𝑡</m:t>
                        </m:r>
                      </m:lim>
                    </m:limLow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−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</m:e>
                      <m:sub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𝑖</m:t>
                            </m:r>
                          </m:sub>
                        </m:sSub>
                      </m:sub>
                    </m:sSub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)</a:t>
                </a:r>
                <a:r>
                  <a:rPr lang="en-US" altLang="zh-CN" baseline="30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2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]</a:t>
                </a:r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2AC64D4D-F6A5-4901-8EA4-FD5E2AB7DC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7492" y="2310297"/>
                <a:ext cx="7130093" cy="1002006"/>
              </a:xfrm>
              <a:prstGeom prst="rect">
                <a:avLst/>
              </a:prstGeom>
              <a:blipFill>
                <a:blip r:embed="rId6"/>
                <a:stretch>
                  <a:fillRect t="-61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Picture 5">
            <a:extLst>
              <a:ext uri="{FF2B5EF4-FFF2-40B4-BE49-F238E27FC236}">
                <a16:creationId xmlns:a16="http://schemas.microsoft.com/office/drawing/2014/main" id="{BD539E89-31E8-4DB4-AD6C-83AD9C1467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3697" y="4485902"/>
            <a:ext cx="3309394" cy="143479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91088B-F350-4609-8E84-7504A5E856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1814" y="3132181"/>
            <a:ext cx="3311277" cy="1435608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BA1EEA66-54E2-41AD-B70B-A9F6EAF4FE5A}"/>
              </a:ext>
            </a:extLst>
          </p:cNvPr>
          <p:cNvCxnSpPr>
            <a:cxnSpLocks/>
            <a:stCxn id="15" idx="3"/>
            <a:endCxn id="7" idx="3"/>
          </p:cNvCxnSpPr>
          <p:nvPr/>
        </p:nvCxnSpPr>
        <p:spPr>
          <a:xfrm flipH="1" flipV="1">
            <a:off x="4403091" y="3849985"/>
            <a:ext cx="284322" cy="3987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DF73E1B-7FF3-458E-8D87-9CC4736FF1F5}"/>
              </a:ext>
            </a:extLst>
          </p:cNvPr>
          <p:cNvCxnSpPr>
            <a:cxnSpLocks/>
            <a:stCxn id="16" idx="3"/>
            <a:endCxn id="6" idx="3"/>
          </p:cNvCxnSpPr>
          <p:nvPr/>
        </p:nvCxnSpPr>
        <p:spPr>
          <a:xfrm flipH="1" flipV="1">
            <a:off x="4403091" y="5203298"/>
            <a:ext cx="284322" cy="355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8D107392-B9A1-462E-8859-02DD2F76B339}"/>
                  </a:ext>
                </a:extLst>
              </p:cNvPr>
              <p:cNvSpPr txBox="1"/>
              <p:nvPr/>
            </p:nvSpPr>
            <p:spPr>
              <a:xfrm flipH="1">
                <a:off x="4687413" y="4064032"/>
                <a:ext cx="36140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8D107392-B9A1-462E-8859-02DD2F76B3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flipH="1">
                <a:off x="4687413" y="4064032"/>
                <a:ext cx="361408" cy="369332"/>
              </a:xfrm>
              <a:prstGeom prst="rect">
                <a:avLst/>
              </a:prstGeom>
              <a:blipFill>
                <a:blip r:embed="rId8"/>
                <a:stretch>
                  <a:fillRect l="-3390" r="-15254" b="-11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5B94091B-1EF8-44DD-9B53-E79D06C5D257}"/>
                  </a:ext>
                </a:extLst>
              </p:cNvPr>
              <p:cNvSpPr txBox="1"/>
              <p:nvPr/>
            </p:nvSpPr>
            <p:spPr>
              <a:xfrm flipH="1">
                <a:off x="4687413" y="5374400"/>
                <a:ext cx="36140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b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</m:sup>
                          </m:sSup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5B94091B-1EF8-44DD-9B53-E79D06C5D25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flipH="1">
                <a:off x="4687413" y="5374400"/>
                <a:ext cx="361408" cy="369332"/>
              </a:xfrm>
              <a:prstGeom prst="rect">
                <a:avLst/>
              </a:prstGeom>
              <a:blipFill>
                <a:blip r:embed="rId9"/>
                <a:stretch>
                  <a:fillRect l="-3390" r="-33898" b="-11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页脚占位符 2">
            <a:extLst>
              <a:ext uri="{FF2B5EF4-FFF2-40B4-BE49-F238E27FC236}">
                <a16:creationId xmlns:a16="http://schemas.microsoft.com/office/drawing/2014/main" id="{7CAC45AE-0F73-1F18-16FB-682FE6F198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37" y="6382800"/>
            <a:ext cx="7496248" cy="128089"/>
          </a:xfrm>
        </p:spPr>
        <p:txBody>
          <a:bodyPr/>
          <a:lstStyle/>
          <a:p>
            <a:r>
              <a:rPr lang="en-US" altLang="zh-CN" dirty="0" err="1"/>
              <a:t>Mnih</a:t>
            </a:r>
            <a:r>
              <a:rPr lang="en-US" altLang="zh-CN" dirty="0"/>
              <a:t>, </a:t>
            </a:r>
            <a:r>
              <a:rPr lang="en-US" altLang="zh-CN" dirty="0" err="1"/>
              <a:t>Kavukcuoglu</a:t>
            </a:r>
            <a:r>
              <a:rPr lang="en-US" altLang="zh-CN" dirty="0"/>
              <a:t>, Silver et al. Human-Level Control Through Deep Reinforcement Learning. Nature 2015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556785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算法流程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 1">
                <a:extLst>
                  <a:ext uri="{FF2B5EF4-FFF2-40B4-BE49-F238E27FC236}">
                    <a16:creationId xmlns:a16="http://schemas.microsoft.com/office/drawing/2014/main" id="{7A24F77F-0024-4758-8E0C-B20F062FA6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47749" y="1987449"/>
                <a:ext cx="7837633" cy="341473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42900" indent="-342900">
                  <a:buFont typeface="+mj-lt"/>
                  <a:buAutoNum type="arabicPeriod"/>
                </a:pP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收集数据：使用 </a:t>
                </a:r>
                <a14:m>
                  <m:oMath xmlns:m="http://schemas.openxmlformats.org/officeDocument/2006/math">
                    <m:r>
                      <a:rPr lang="en-US" altLang="zh-CN" sz="18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𝜖</m:t>
                    </m:r>
                    <m:r>
                      <m:rPr>
                        <m:nor/>
                      </m:rPr>
                      <a:rPr lang="en-US" altLang="zh-CN" sz="1800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−</m:t>
                    </m:r>
                    <m:r>
                      <m:rPr>
                        <m:nor/>
                      </m:rPr>
                      <a:rPr lang="en-US" altLang="zh-CN" sz="1800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greedy</m:t>
                    </m:r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策略进行探索，将得到的状态动作组 </a:t>
                </a:r>
                <a14:m>
                  <m:oMath xmlns:m="http://schemas.openxmlformats.org/officeDocument/2006/math">
                    <m:r>
                      <a:rPr lang="pt-BR" altLang="zh-CN" sz="18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pt-BR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pt-BR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pt-BR" altLang="zh-CN" sz="18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pt-BR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pt-BR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pt-BR" altLang="zh-CN" sz="18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pt-BR" altLang="zh-CN" sz="18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pt-BR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pt-BR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sz="18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pt-BR" altLang="zh-CN" sz="18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放入经验池（</a:t>
                </a:r>
                <a:r>
                  <a:rPr lang="en-US" altLang="zh-CN" sz="1800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replay-buffer</a:t>
                </a: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342900" indent="-342900">
                  <a:buFont typeface="+mj-lt"/>
                  <a:buAutoNum type="arabicPeriod"/>
                </a:pP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采样：从数据库中采样 </a:t>
                </a:r>
                <a14:m>
                  <m:oMath xmlns:m="http://schemas.openxmlformats.org/officeDocument/2006/math">
                    <m:r>
                      <a:rPr lang="en-US" altLang="zh-CN" sz="18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𝑘</m:t>
                    </m:r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个动作状态组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342900" indent="-342900">
                  <a:buFont typeface="+mj-lt"/>
                  <a:buAutoNum type="arabicPeriod"/>
                </a:pP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更新网络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用采样得到的数据计算 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𝐿𝑜𝑠𝑠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。</a:t>
                </a: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更新 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函数网络 </a:t>
                </a:r>
                <a14:m>
                  <m:oMath xmlns:m="http://schemas.openxmlformats.org/officeDocument/2006/math"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。</a:t>
                </a: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每 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𝐶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次迭代（更新</a:t>
                </a:r>
                <a14:m>
                  <m:oMath xmlns:m="http://schemas.openxmlformats.org/officeDocument/2006/math"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函数网络）更新一次目标网络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16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e>
                      <m:sup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</m:sup>
                    </m:sSup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。</a:t>
                </a: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 1">
                <a:extLst>
                  <a:ext uri="{FF2B5EF4-FFF2-40B4-BE49-F238E27FC236}">
                    <a16:creationId xmlns:a16="http://schemas.microsoft.com/office/drawing/2014/main" id="{7A24F77F-0024-4758-8E0C-B20F062FA6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7749" y="1987449"/>
                <a:ext cx="7837633" cy="3414730"/>
              </a:xfrm>
              <a:prstGeom prst="rect">
                <a:avLst/>
              </a:prstGeom>
              <a:blipFill>
                <a:blip r:embed="rId3"/>
                <a:stretch>
                  <a:fillRect l="-622" t="-89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箭头: 左弧形 4">
            <a:extLst>
              <a:ext uri="{FF2B5EF4-FFF2-40B4-BE49-F238E27FC236}">
                <a16:creationId xmlns:a16="http://schemas.microsoft.com/office/drawing/2014/main" id="{F76DD906-D09A-407A-83DA-5AACC3A84448}"/>
              </a:ext>
            </a:extLst>
          </p:cNvPr>
          <p:cNvSpPr/>
          <p:nvPr/>
        </p:nvSpPr>
        <p:spPr>
          <a:xfrm flipV="1">
            <a:off x="609600" y="2105668"/>
            <a:ext cx="387350" cy="1993817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页脚占位符 2">
            <a:extLst>
              <a:ext uri="{FF2B5EF4-FFF2-40B4-BE49-F238E27FC236}">
                <a16:creationId xmlns:a16="http://schemas.microsoft.com/office/drawing/2014/main" id="{536FD3A7-5BE4-F80E-E607-C914145A3A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37" y="6382800"/>
            <a:ext cx="7496248" cy="128089"/>
          </a:xfrm>
        </p:spPr>
        <p:txBody>
          <a:bodyPr/>
          <a:lstStyle/>
          <a:p>
            <a:r>
              <a:rPr lang="en-US" altLang="zh-CN" dirty="0" err="1"/>
              <a:t>Mnih</a:t>
            </a:r>
            <a:r>
              <a:rPr lang="en-US" altLang="zh-CN" dirty="0"/>
              <a:t>, </a:t>
            </a:r>
            <a:r>
              <a:rPr lang="en-US" altLang="zh-CN" dirty="0" err="1"/>
              <a:t>Kavukcuoglu</a:t>
            </a:r>
            <a:r>
              <a:rPr lang="en-US" altLang="zh-CN" dirty="0"/>
              <a:t>, Silver et al. Human-Level Control Through Deep Reinforcement Learning. Nature 2015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778125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475200"/>
            <a:ext cx="8137922" cy="553500"/>
          </a:xfrm>
        </p:spPr>
        <p:txBody>
          <a:bodyPr/>
          <a:lstStyle/>
          <a:p>
            <a:r>
              <a:rPr lang="zh-CN" altLang="en-US" dirty="0"/>
              <a:t>课程回顾：基于表格的强化学习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7ABE3"/>
              </a:solidFill>
              <a:effectLst/>
              <a:uLnTx/>
              <a:uFillTx/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0" name="文本占位符 3">
            <a:extLst>
              <a:ext uri="{FF2B5EF4-FFF2-40B4-BE49-F238E27FC236}">
                <a16:creationId xmlns:a16="http://schemas.microsoft.com/office/drawing/2014/main" id="{92DB8E22-82B6-4CD0-B0A2-57341EA7B1AD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2620900" cy="42811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基于模型的动态规划</a:t>
            </a:r>
          </a:p>
        </p:txBody>
      </p:sp>
      <p:sp>
        <p:nvSpPr>
          <p:cNvPr id="17" name="文本占位符 3">
            <a:extLst>
              <a:ext uri="{FF2B5EF4-FFF2-40B4-BE49-F238E27FC236}">
                <a16:creationId xmlns:a16="http://schemas.microsoft.com/office/drawing/2014/main" id="{C391E581-35DF-42B3-9B1E-4E1085516B7F}"/>
              </a:ext>
            </a:extLst>
          </p:cNvPr>
          <p:cNvSpPr txBox="1">
            <a:spLocks/>
          </p:cNvSpPr>
          <p:nvPr/>
        </p:nvSpPr>
        <p:spPr>
          <a:xfrm>
            <a:off x="502442" y="2771126"/>
            <a:ext cx="2364046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无模型的强化学习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内容占位符 2">
                <a:extLst>
                  <a:ext uri="{FF2B5EF4-FFF2-40B4-BE49-F238E27FC236}">
                    <a16:creationId xmlns:a16="http://schemas.microsoft.com/office/drawing/2014/main" id="{CA558916-D061-4AFB-867F-F57569BF30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733690"/>
                <a:ext cx="8137922" cy="114043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值迭代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func>
                      <m:func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max</m:t>
                            </m:r>
                          </m:e>
                          <m:lim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∈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𝐴</m:t>
                            </m:r>
                          </m:lim>
                        </m:limLow>
                      </m:fName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𝛾</m:t>
                        </m:r>
                      </m:e>
                    </m:func>
                    <m:nary>
                      <m:naryPr>
                        <m:chr m:val="∑"/>
                        <m:supHide m:val="on"/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naryPr>
                      <m:sub>
                        <m:sSup>
                          <m:sSup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p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′</m:t>
                            </m:r>
                          </m:sup>
                        </m:s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∈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𝑃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𝑎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𝑠</m:t>
                                </m:r>
                              </m:e>
                              <m:sup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′</m:t>
                                </m:r>
                              </m:sup>
                            </m:sSup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)</m:t>
                        </m:r>
                      </m:e>
                    </m:nary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</m:oMath>
                </a14:m>
                <a:endParaRPr lang="en-US" altLang="zh-CN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迭代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en-US" altLang="zh-CN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uncPr>
                      <m:fNam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=</m:t>
                        </m:r>
                        <m:r>
                          <m:rPr>
                            <m:sty m:val="p"/>
                          </m:rPr>
                          <a:rPr lang="en-US" altLang="zh-CN" b="0" i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arg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 </m:t>
                        </m:r>
                        <m:limLow>
                          <m:limLowPr>
                            <m:ctrlPr>
                              <a:rPr lang="en-US" altLang="zh-CN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max</m:t>
                            </m:r>
                          </m:e>
                          <m:lim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∈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𝐴</m:t>
                            </m:r>
                          </m:lim>
                        </m:limLow>
                      </m:fName>
                      <m:e>
                        <m:nary>
                          <m:naryPr>
                            <m:chr m:val="∑"/>
                            <m:supHide m:val="on"/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naryPr>
                          <m:sub>
                            <m:sSup>
                              <m:sSup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𝑠</m:t>
                                </m:r>
                              </m:e>
                              <m:sup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′</m:t>
                                </m:r>
                              </m:sup>
                            </m:sSup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∈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𝑆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𝑠𝑎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sSup>
                                  <m:sSupPr>
                                    <m:ctrlP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𝑠</m:t>
                                    </m:r>
                                  </m:e>
                                  <m:sup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′</m:t>
                                    </m:r>
                                  </m:sup>
                                </m:sSup>
                              </m:e>
                            </m:d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𝑉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′)</m:t>
                            </m:r>
                          </m:e>
                        </m:nary>
                      </m:e>
                    </m:func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8" name="内容占位符 2">
                <a:extLst>
                  <a:ext uri="{FF2B5EF4-FFF2-40B4-BE49-F238E27FC236}">
                    <a16:creationId xmlns:a16="http://schemas.microsoft.com/office/drawing/2014/main" id="{CA558916-D061-4AFB-867F-F57569BF30B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733690"/>
                <a:ext cx="8137922" cy="1140437"/>
              </a:xfrm>
              <a:prstGeom prst="rect">
                <a:avLst/>
              </a:prstGeom>
              <a:blipFill>
                <a:blip r:embed="rId2"/>
                <a:stretch>
                  <a:fillRect l="-449" t="-42781" b="-4598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内容占位符 2">
                <a:extLst>
                  <a:ext uri="{FF2B5EF4-FFF2-40B4-BE49-F238E27FC236}">
                    <a16:creationId xmlns:a16="http://schemas.microsoft.com/office/drawing/2014/main" id="{3389016E-D742-4DCC-BD4E-A576798AA71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3265783"/>
                <a:ext cx="8137922" cy="275276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线策略蒙特卡洛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𝐺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−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)</m:t>
                    </m:r>
                  </m:oMath>
                </a14:m>
                <a:endParaRPr lang="en-US" altLang="zh-CN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线策略时序差分 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𝑟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+1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𝛾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  <m:d>
                          <m:d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+1</m:t>
                                </m:r>
                              </m:sub>
                            </m:sSub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</m:sub>
                            </m:sSub>
                          </m:e>
                        </m:d>
                      </m:e>
                    </m:d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线策略时序差分 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SARSA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学习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+1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+1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−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离线策略时序差分 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Q-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学习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limLow>
                      <m:limLow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limLowPr>
                      <m:e>
                        <m:r>
                          <m:rPr>
                            <m:sty m:val="p"/>
                          </m:rPr>
                          <a:rPr lang="en-US" altLang="zh-CN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max</m:t>
                        </m:r>
                      </m:e>
                      <m:lim>
                        <m:sSup>
                          <m:sSup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p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′</m:t>
                            </m:r>
                          </m:sup>
                        </m:sSup>
                      </m:lim>
                    </m:limLow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+1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</m:t>
                        </m:r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−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9" name="内容占位符 2">
                <a:extLst>
                  <a:ext uri="{FF2B5EF4-FFF2-40B4-BE49-F238E27FC236}">
                    <a16:creationId xmlns:a16="http://schemas.microsoft.com/office/drawing/2014/main" id="{3389016E-D742-4DCC-BD4E-A576798AA71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3265783"/>
                <a:ext cx="8137922" cy="2752769"/>
              </a:xfrm>
              <a:prstGeom prst="rect">
                <a:avLst/>
              </a:prstGeom>
              <a:blipFill>
                <a:blip r:embed="rId3"/>
                <a:stretch>
                  <a:fillRect l="-449" t="-133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046448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3A0115B9-E7C3-47B1-AC67-A1A790C9AE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369"/>
          <a:stretch/>
        </p:blipFill>
        <p:spPr>
          <a:xfrm>
            <a:off x="2302905" y="1098958"/>
            <a:ext cx="4027872" cy="5063214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/>
              <a:t>在 </a:t>
            </a:r>
            <a:r>
              <a:rPr lang="en-US" altLang="zh-CN"/>
              <a:t>Atari </a:t>
            </a:r>
            <a:r>
              <a:rPr lang="zh-CN" altLang="en-US"/>
              <a:t>环境中的实验结果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4168D778-F538-413C-B531-44A8BF5DC8EA}"/>
              </a:ext>
            </a:extLst>
          </p:cNvPr>
          <p:cNvSpPr/>
          <p:nvPr/>
        </p:nvSpPr>
        <p:spPr>
          <a:xfrm>
            <a:off x="6374059" y="5334746"/>
            <a:ext cx="236171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/>
              <a:t>The performance of DQN is normalized with respect to a professional human games tester (that is, 100% level)</a:t>
            </a:r>
            <a:endParaRPr lang="zh-CN" altLang="en-US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25FB8E7F-7A4C-4A25-8F89-D660C145EAD5}"/>
                  </a:ext>
                </a:extLst>
              </p:cNvPr>
              <p:cNvSpPr txBox="1"/>
              <p:nvPr/>
            </p:nvSpPr>
            <p:spPr>
              <a:xfrm>
                <a:off x="4585140" y="2357151"/>
                <a:ext cx="2232983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altLang="zh-CN" sz="1600" b="0" i="0" smtClean="0">
                          <a:latin typeface="Cambria Math" panose="02040503050406030204" pitchFamily="18" charset="0"/>
                        </a:rPr>
                        <m:t>normalized</m:t>
                      </m:r>
                      <m:r>
                        <a:rPr lang="en-US" altLang="zh-CN" sz="1600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altLang="zh-CN" sz="1600" b="0" i="0" smtClean="0">
                          <a:latin typeface="Cambria Math" panose="02040503050406030204" pitchFamily="18" charset="0"/>
                        </a:rPr>
                        <m:t>performance</m:t>
                      </m:r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25FB8E7F-7A4C-4A25-8F89-D660C145EA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85140" y="2357151"/>
                <a:ext cx="2232983" cy="246221"/>
              </a:xfrm>
              <a:prstGeom prst="rect">
                <a:avLst/>
              </a:prstGeom>
              <a:blipFill>
                <a:blip r:embed="rId7"/>
                <a:stretch>
                  <a:fillRect l="-1639" r="-2459" b="-3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741DD343-E02C-4AD5-9520-B37DDCCC848A}"/>
                  </a:ext>
                </a:extLst>
              </p:cNvPr>
              <p:cNvSpPr txBox="1"/>
              <p:nvPr/>
            </p:nvSpPr>
            <p:spPr>
              <a:xfrm>
                <a:off x="4585140" y="2728864"/>
                <a:ext cx="3363805" cy="50988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6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altLang="zh-CN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DQN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i="0">
                              <a:latin typeface="Cambria Math" panose="02040503050406030204" pitchFamily="18" charset="0"/>
                            </a:rPr>
                            <m:t>sc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ore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−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random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play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score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human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score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−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random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play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score</m:t>
                          </m:r>
                        </m:den>
                      </m:f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741DD343-E02C-4AD5-9520-B37DDCCC84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85140" y="2728864"/>
                <a:ext cx="3363805" cy="509883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页脚占位符 2">
            <a:extLst>
              <a:ext uri="{FF2B5EF4-FFF2-40B4-BE49-F238E27FC236}">
                <a16:creationId xmlns:a16="http://schemas.microsoft.com/office/drawing/2014/main" id="{9211F361-8422-0C61-69D9-92E5B958D0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37" y="6382800"/>
            <a:ext cx="7496248" cy="128089"/>
          </a:xfrm>
        </p:spPr>
        <p:txBody>
          <a:bodyPr/>
          <a:lstStyle/>
          <a:p>
            <a:r>
              <a:rPr lang="en-US" altLang="zh-CN" dirty="0" err="1"/>
              <a:t>Mnih</a:t>
            </a:r>
            <a:r>
              <a:rPr lang="en-US" altLang="zh-CN" dirty="0"/>
              <a:t>, </a:t>
            </a:r>
            <a:r>
              <a:rPr lang="en-US" altLang="zh-CN" dirty="0" err="1"/>
              <a:t>Kavukcuoglu</a:t>
            </a:r>
            <a:r>
              <a:rPr lang="en-US" altLang="zh-CN" dirty="0"/>
              <a:t>, Silver et al. Human-Level Control Through Deep Reinforcement Learning. Nature 2015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724680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kumimoji="1" lang="en-US" altLang="zh-CN" dirty="0"/>
              <a:t>Double</a:t>
            </a:r>
            <a:br>
              <a:rPr kumimoji="1" lang="en-US" altLang="zh-CN" dirty="0"/>
            </a:br>
            <a:r>
              <a:rPr kumimoji="1" lang="en-US" altLang="zh-CN" dirty="0"/>
              <a:t>DQN</a:t>
            </a:r>
            <a:endParaRPr kumimoji="1" lang="zh-CN" altLang="en-US" dirty="0"/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/>
              <a:t>0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053751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Q-learning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中的过估计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02443" y="6303323"/>
            <a:ext cx="6498721" cy="287044"/>
          </a:xfrm>
        </p:spPr>
        <p:txBody>
          <a:bodyPr/>
          <a:lstStyle/>
          <a:p>
            <a:r>
              <a:rPr lang="en-US" altLang="zh-CN" dirty="0" err="1"/>
              <a:t>Hado</a:t>
            </a:r>
            <a:r>
              <a:rPr lang="en-US" altLang="zh-CN" dirty="0"/>
              <a:t> Hasselt et al. Deep Reinforcement Learning with Double Q-Learning. AAAI 2016.</a:t>
            </a:r>
          </a:p>
          <a:p>
            <a:r>
              <a:rPr lang="en-US" altLang="zh-CN" dirty="0" err="1"/>
              <a:t>Hado</a:t>
            </a:r>
            <a:r>
              <a:rPr lang="en-US" altLang="zh-CN" dirty="0"/>
              <a:t> Hasselt. Double Q-learning. NIPS 2010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 1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470383"/>
                <a:ext cx="8137922" cy="82792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Q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函数的过高估计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Target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值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b="0" i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t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func>
                      <m:func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max</m:t>
                            </m:r>
                          </m:e>
                          <m:lim>
                            <m:sSup>
                              <m:sSup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𝑎</m:t>
                                </m:r>
                              </m:e>
                              <m:sup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′</m:t>
                                </m:r>
                              </m:sup>
                            </m:sSup>
                          </m:lim>
                        </m:limLow>
                      </m:fName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𝑄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+1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p>
                          <m:sSup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p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′</m:t>
                            </m:r>
                          </m:sup>
                        </m:s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e>
                    </m:func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 1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470383"/>
                <a:ext cx="8137922" cy="827923"/>
              </a:xfrm>
              <a:prstGeom prst="rect">
                <a:avLst/>
              </a:prstGeom>
              <a:blipFill>
                <a:blip r:embed="rId5"/>
                <a:stretch>
                  <a:fillRect l="-449" t="-3676" b="-147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13FD8D3-3D93-4D3E-A626-273B8B1BABE6}"/>
              </a:ext>
            </a:extLst>
          </p:cNvPr>
          <p:cNvCxnSpPr/>
          <p:nvPr/>
        </p:nvCxnSpPr>
        <p:spPr>
          <a:xfrm flipH="1" flipV="1">
            <a:off x="3722255" y="2298306"/>
            <a:ext cx="304800" cy="2351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85DAE1A6-85AA-498F-8E1F-B1852C8C768B}"/>
                  </a:ext>
                </a:extLst>
              </p:cNvPr>
              <p:cNvSpPr txBox="1"/>
              <p:nvPr/>
            </p:nvSpPr>
            <p:spPr>
              <a:xfrm>
                <a:off x="3325701" y="2521172"/>
                <a:ext cx="2849996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𝑚𝑎𝑥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操作使得 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函数的值越来越大，甚至高于真实值</a:t>
                </a:r>
                <a:endParaRPr 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85DAE1A6-85AA-498F-8E1F-B1852C8C76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25701" y="2521172"/>
                <a:ext cx="2849996" cy="584775"/>
              </a:xfrm>
              <a:prstGeom prst="rect">
                <a:avLst/>
              </a:prstGeom>
              <a:blipFill>
                <a:blip r:embed="rId6"/>
                <a:stretch>
                  <a:fillRect l="-1285" t="-3125" b="-1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内容占位符 2 2">
                <a:extLst>
                  <a:ext uri="{FF2B5EF4-FFF2-40B4-BE49-F238E27FC236}">
                    <a16:creationId xmlns:a16="http://schemas.microsoft.com/office/drawing/2014/main" id="{91C1EFC9-54FD-4D57-BBA4-F09AB9FFF15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3106417"/>
                <a:ext cx="8004249" cy="102869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过高估计的原因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假设有随机变量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60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𝑋</m:t>
                        </m:r>
                      </m:e>
                      <m: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𝑋</m:t>
                        </m:r>
                      </m:e>
                      <m: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sub>
                    </m:sSub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有 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𝔼</m:t>
                    </m:r>
                    <m:d>
                      <m:dPr>
                        <m:begChr m:val="["/>
                        <m:endChr m:val="]"/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func>
                          <m:func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altLang="zh-CN" sz="1600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max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altLang="zh-CN" sz="1600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600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𝑋</m:t>
                                    </m:r>
                                  </m:e>
                                  <m:sub>
                                    <m:r>
                                      <a:rPr lang="en-US" altLang="zh-CN" sz="1600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,</m:t>
                                </m:r>
                                <m:sSub>
                                  <m:sSubPr>
                                    <m:ctrlPr>
                                      <a:rPr lang="en-US" altLang="zh-CN" sz="1600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600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𝑋</m:t>
                                    </m:r>
                                  </m:e>
                                  <m:sub>
                                    <m:r>
                                      <a:rPr lang="en-US" altLang="zh-CN" sz="1600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2</m:t>
                                    </m:r>
                                  </m:sub>
                                </m:sSub>
                              </m:e>
                            </m:d>
                          </m:e>
                        </m:func>
                      </m:e>
                    </m:d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≥</m:t>
                    </m:r>
                    <m:func>
                      <m:func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 altLang="zh-CN" sz="1600" b="0" i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max</m:t>
                        </m:r>
                      </m:fName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𝔼</m:t>
                        </m:r>
                        <m:d>
                          <m:dPr>
                            <m:begChr m:val="["/>
                            <m:endChr m:val="]"/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𝑋</m:t>
                                </m:r>
                              </m:e>
                              <m:sub>
                                <m:r>
                                  <a:rPr lang="en-US" altLang="zh-CN" sz="1600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1</m:t>
                                </m:r>
                              </m:sub>
                            </m:sSub>
                          </m:e>
                        </m:d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𝔼</m:t>
                        </m:r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[</m:t>
                        </m:r>
                        <m:sSub>
                          <m:sSub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𝑋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2</m:t>
                            </m:r>
                          </m:sub>
                        </m:s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])</m:t>
                        </m:r>
                      </m:e>
                    </m:func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31" name="内容占位符 2 2">
                <a:extLst>
                  <a:ext uri="{FF2B5EF4-FFF2-40B4-BE49-F238E27FC236}">
                    <a16:creationId xmlns:a16="http://schemas.microsoft.com/office/drawing/2014/main" id="{91C1EFC9-54FD-4D57-BBA4-F09AB9FFF1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3106417"/>
                <a:ext cx="8004249" cy="1028699"/>
              </a:xfrm>
              <a:prstGeom prst="rect">
                <a:avLst/>
              </a:prstGeom>
              <a:blipFill>
                <a:blip r:embed="rId7"/>
                <a:stretch>
                  <a:fillRect l="-457" t="-357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3CB48E8-91E6-484F-A60D-9566B806DD52}"/>
              </a:ext>
            </a:extLst>
          </p:cNvPr>
          <p:cNvCxnSpPr>
            <a:cxnSpLocks/>
          </p:cNvCxnSpPr>
          <p:nvPr/>
        </p:nvCxnSpPr>
        <p:spPr>
          <a:xfrm flipV="1">
            <a:off x="1754909" y="4440003"/>
            <a:ext cx="748145" cy="4924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E77F6FA0-6DB3-4960-93DA-EBA17167ECB8}"/>
                  </a:ext>
                </a:extLst>
              </p:cNvPr>
              <p:cNvSpPr txBox="1"/>
              <p:nvPr/>
            </p:nvSpPr>
            <p:spPr>
              <a:xfrm>
                <a:off x="397500" y="5013269"/>
                <a:ext cx="2676568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函数的值被视作在状态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p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</m:t>
                        </m:r>
                      </m:sup>
                    </m:sSup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动作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p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</m:t>
                        </m:r>
                      </m:sup>
                    </m:sSup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下的回报期望值</a:t>
                </a:r>
                <a:endParaRPr 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E77F6FA0-6DB3-4960-93DA-EBA17167EC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7500" y="5013269"/>
                <a:ext cx="2676568" cy="584775"/>
              </a:xfrm>
              <a:prstGeom prst="rect">
                <a:avLst/>
              </a:prstGeom>
              <a:blipFill>
                <a:blip r:embed="rId8"/>
                <a:stretch>
                  <a:fillRect l="-1139" t="-3125" r="-8884" b="-125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B2C95754-7441-4F07-A08F-47C9F2169CF3}"/>
                  </a:ext>
                </a:extLst>
              </p:cNvPr>
              <p:cNvSpPr txBox="1"/>
              <p:nvPr/>
            </p:nvSpPr>
            <p:spPr>
              <a:xfrm>
                <a:off x="-1519142" y="3866737"/>
                <a:ext cx="10025833" cy="11465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max</m:t>
                              </m:r>
                            </m:e>
                            <m:lim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∈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𝐴</m:t>
                              </m:r>
                            </m:lim>
                          </m:limLow>
                        </m:fName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b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</m:sSub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+1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e>
                          </m:d>
                        </m:e>
                      </m:func>
                      <m:r>
                        <m:rPr>
                          <m:aln/>
                        </m:rP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b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1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func>
                        <m:func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arg</m:t>
                          </m:r>
                        </m:fName>
                        <m:e>
                          <m:func>
                            <m:func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limLow>
                                <m:limLow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limLow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max</m:t>
                                  </m:r>
                                </m:e>
                                <m:lim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lim>
                              </m:limLow>
                            </m:fName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b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+1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))</m:t>
                              </m:r>
                            </m:e>
                          </m:func>
                        </m:e>
                      </m:func>
                    </m:oMath>
                    <m:oMath xmlns:m="http://schemas.openxmlformats.org/officeDocument/2006/math">
                      <m:r>
                        <m:rPr>
                          <m:aln/>
                        </m:rP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𝔼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[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𝑅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|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1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func>
                        <m:func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arg</m:t>
                          </m:r>
                        </m:fName>
                        <m:e>
                          <m:func>
                            <m:func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limLow>
                                <m:limLow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limLow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max</m:t>
                                  </m:r>
                                </m:e>
                                <m:lim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lim>
                              </m:limLow>
                            </m:fName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b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+1</m:t>
                                      </m:r>
                                    </m:sub>
                                  </m:s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,</m:t>
                                  </m:r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]</m:t>
                              </m:r>
                            </m:e>
                          </m:func>
                        </m:e>
                      </m:func>
                    </m:oMath>
                    <m:oMath xmlns:m="http://schemas.openxmlformats.org/officeDocument/2006/math">
                      <m:r>
                        <m:rPr>
                          <m:aln/>
                        </m:rP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≥</m:t>
                      </m:r>
                      <m:func>
                        <m:func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max</m:t>
                          </m:r>
                        </m:fName>
                        <m:e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𝔼</m:t>
                              </m:r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𝑅</m:t>
                                  </m:r>
                                </m:e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+1</m:t>
                                      </m:r>
                                    </m:sub>
                                  </m:s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,</m:t>
                                  </m:r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1</m:t>
                                      </m:r>
                                    </m:sub>
                                  </m:s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,</m:t>
                                  </m:r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𝔼</m:t>
                              </m:r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𝑅</m:t>
                                  </m:r>
                                </m:e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+1</m:t>
                                      </m:r>
                                    </m:sub>
                                  </m:s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,</m:t>
                                  </m:r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2</m:t>
                                      </m:r>
                                    </m:sub>
                                  </m:s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,</m:t>
                                  </m:r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⋯</m:t>
                              </m:r>
                            </m:e>
                          </m:d>
                        </m:e>
                      </m:func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∈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𝐴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B2C95754-7441-4F07-A08F-47C9F2169CF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519142" y="3866737"/>
                <a:ext cx="10025833" cy="114653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25">
                <a:extLst>
                  <a:ext uri="{FF2B5EF4-FFF2-40B4-BE49-F238E27FC236}">
                    <a16:creationId xmlns:a16="http://schemas.microsoft.com/office/drawing/2014/main" id="{EEC13D7E-75E6-40B6-8099-EAEA7039FEF5}"/>
                  </a:ext>
                </a:extLst>
              </p:cNvPr>
              <p:cNvSpPr txBox="1"/>
              <p:nvPr/>
            </p:nvSpPr>
            <p:spPr>
              <a:xfrm>
                <a:off x="3752334" y="5211295"/>
                <a:ext cx="284999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zh-CN" altLang="en-US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我们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真正想要得到的最大价值</a:t>
                </a:r>
                <a:endParaRPr 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TextBox 25">
                <a:extLst>
                  <a:ext uri="{FF2B5EF4-FFF2-40B4-BE49-F238E27FC236}">
                    <a16:creationId xmlns:a16="http://schemas.microsoft.com/office/drawing/2014/main" id="{EEC13D7E-75E6-40B6-8099-EAEA7039FE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52334" y="5211295"/>
                <a:ext cx="2849996" cy="338554"/>
              </a:xfrm>
              <a:prstGeom prst="rect">
                <a:avLst/>
              </a:prstGeom>
              <a:blipFill>
                <a:blip r:embed="rId11"/>
                <a:stretch>
                  <a:fillRect l="-214" t="-5455" b="-2363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Straight Arrow Connector 24">
            <a:extLst>
              <a:ext uri="{FF2B5EF4-FFF2-40B4-BE49-F238E27FC236}">
                <a16:creationId xmlns:a16="http://schemas.microsoft.com/office/drawing/2014/main" id="{A1515370-2D14-46E0-B295-0EDFD8545468}"/>
              </a:ext>
            </a:extLst>
          </p:cNvPr>
          <p:cNvCxnSpPr>
            <a:cxnSpLocks/>
          </p:cNvCxnSpPr>
          <p:nvPr/>
        </p:nvCxnSpPr>
        <p:spPr>
          <a:xfrm flipH="1" flipV="1">
            <a:off x="5005137" y="4950995"/>
            <a:ext cx="249140" cy="2715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8314093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31" grpId="0"/>
      <p:bldP spid="39" grpId="0"/>
      <p:bldP spid="6" grpId="0"/>
      <p:bldP spid="13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Q-learning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中的过估计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 dirty="0"/>
          </a:p>
        </p:txBody>
      </p:sp>
      <p:sp>
        <p:nvSpPr>
          <p:cNvPr id="8" name="内容占位符 2 1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2" y="1470383"/>
            <a:ext cx="8137922" cy="8279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Q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函数的过高估计程度随着候选行动数量增大变得更严重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7907ADB-1CB4-4D1C-8EC9-82BD809196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0235" y="2096387"/>
            <a:ext cx="6887362" cy="266522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 1">
                <a:extLst>
                  <a:ext uri="{FF2B5EF4-FFF2-40B4-BE49-F238E27FC236}">
                    <a16:creationId xmlns:a16="http://schemas.microsoft.com/office/drawing/2014/main" id="{9A41FF1D-8694-4DA5-B347-43131B1A2E2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4970858"/>
                <a:ext cx="8137922" cy="106596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其中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r>
                      <a:rPr lang="en-US" altLang="zh-CN" i="1" baseline="-25000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𝑡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i="1" dirty="0" err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i="1" dirty="0" err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i="1" dirty="0" err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−</m:t>
                    </m:r>
                    <m:sSub>
                      <m:sSub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</m:e>
                      <m:sub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b>
                    </m:sSub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设为在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[-1,1]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区间均匀分布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′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函数是另一组独立训练的价值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内容占位符 2 1">
                <a:extLst>
                  <a:ext uri="{FF2B5EF4-FFF2-40B4-BE49-F238E27FC236}">
                    <a16:creationId xmlns:a16="http://schemas.microsoft.com/office/drawing/2014/main" id="{9A41FF1D-8694-4DA5-B347-43131B1A2E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970858"/>
                <a:ext cx="8137922" cy="1065962"/>
              </a:xfrm>
              <a:prstGeom prst="rect">
                <a:avLst/>
              </a:prstGeom>
              <a:blipFill>
                <a:blip r:embed="rId7"/>
                <a:stretch>
                  <a:fillRect l="-449" t="-285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页脚占位符 2">
            <a:extLst>
              <a:ext uri="{FF2B5EF4-FFF2-40B4-BE49-F238E27FC236}">
                <a16:creationId xmlns:a16="http://schemas.microsoft.com/office/drawing/2014/main" id="{EFA170B7-2F4F-EB3A-B344-265E6CE1A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303323"/>
            <a:ext cx="6498721" cy="287044"/>
          </a:xfrm>
        </p:spPr>
        <p:txBody>
          <a:bodyPr/>
          <a:lstStyle/>
          <a:p>
            <a:r>
              <a:rPr lang="en-US" altLang="zh-CN" dirty="0" err="1"/>
              <a:t>Hado</a:t>
            </a:r>
            <a:r>
              <a:rPr lang="en-US" altLang="zh-CN" dirty="0"/>
              <a:t> Hasselt et al. Deep Reinforcement Learning with Double Q-Learning. AAAI 2016.</a:t>
            </a:r>
          </a:p>
          <a:p>
            <a:r>
              <a:rPr lang="en-US" altLang="zh-CN" dirty="0" err="1"/>
              <a:t>Hado</a:t>
            </a:r>
            <a:r>
              <a:rPr lang="en-US" altLang="zh-CN" dirty="0"/>
              <a:t> Hasselt. Double Q-learning. NIPS 2010.</a:t>
            </a:r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40806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Q-learning</a:t>
            </a:r>
            <a:r>
              <a:rPr lang="zh-CN" altLang="en-US" dirty="0"/>
              <a:t>中过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估计的例子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88AA30-C136-4885-B71D-884B7DB344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053" y="1243067"/>
            <a:ext cx="8641893" cy="360078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内容占位符 2 1">
                <a:extLst>
                  <a:ext uri="{FF2B5EF4-FFF2-40B4-BE49-F238E27FC236}">
                    <a16:creationId xmlns:a16="http://schemas.microsoft.com/office/drawing/2014/main" id="{C5CC7CCE-6052-4878-B764-29CE7D94F4E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4974483"/>
                <a:ext cx="8137922" cy="106596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设置：</a:t>
                </a:r>
                <a:r>
                  <a:rPr lang="en-US" altLang="zh-CN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x</a:t>
                </a: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轴为状态，</a:t>
                </a:r>
                <a:r>
                  <a:rPr lang="en-US" altLang="zh-CN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10</a:t>
                </a: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个候选行动；紫</a:t>
                </a:r>
                <a:r>
                  <a:rPr lang="zh-CN" altLang="en-US" sz="180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线是真实价值</a:t>
                </a: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函数，绿点是训练数据点，绿线是拟合的价值函数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中间列展示</a:t>
                </a:r>
                <a:r>
                  <a:rPr lang="en-US" altLang="zh-CN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10</a:t>
                </a: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个行动的</a:t>
                </a:r>
                <a14:m>
                  <m:oMath xmlns:m="http://schemas.openxmlformats.org/officeDocument/2006/math">
                    <m:r>
                      <a:rPr lang="en-US" altLang="zh-CN" sz="180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r>
                      <a:rPr lang="en-US" altLang="zh-CN" sz="1800" i="1" baseline="-25000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𝑡</m:t>
                    </m:r>
                    <m:r>
                      <a:rPr lang="en-US" altLang="zh-CN" sz="180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1800" i="1" dirty="0" err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sz="1800" i="1" dirty="0" err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sz="1800" i="1" dirty="0" err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sz="180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估计，在取</a:t>
                </a:r>
                <a:r>
                  <a:rPr lang="en-US" altLang="zh-CN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ax</a:t>
                </a: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后，与真实</a:t>
                </a:r>
                <a14:m>
                  <m:oMath xmlns:m="http://schemas.openxmlformats.org/officeDocument/2006/math">
                    <m:r>
                      <a:rPr lang="en-US" altLang="zh-CN" sz="180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r>
                      <a:rPr lang="zh-CN" altLang="en-US" sz="1800" i="1" baseline="-25000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∗</m:t>
                    </m:r>
                    <m:r>
                      <a:rPr lang="en-US" altLang="zh-CN" sz="180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1800" i="1" dirty="0" err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sz="1800" i="1" dirty="0" err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sz="1800" i="1" dirty="0" err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sz="180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差距太大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9" name="内容占位符 2 1">
                <a:extLst>
                  <a:ext uri="{FF2B5EF4-FFF2-40B4-BE49-F238E27FC236}">
                    <a16:creationId xmlns:a16="http://schemas.microsoft.com/office/drawing/2014/main" id="{C5CC7CCE-6052-4878-B764-29CE7D94F4E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974483"/>
                <a:ext cx="8137922" cy="1065962"/>
              </a:xfrm>
              <a:prstGeom prst="rect">
                <a:avLst/>
              </a:prstGeom>
              <a:blipFill>
                <a:blip r:embed="rId6"/>
                <a:stretch>
                  <a:fillRect l="-300" t="-2857" b="-685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页脚占位符 2">
            <a:extLst>
              <a:ext uri="{FF2B5EF4-FFF2-40B4-BE49-F238E27FC236}">
                <a16:creationId xmlns:a16="http://schemas.microsoft.com/office/drawing/2014/main" id="{CFD13A5F-94A8-B78D-32FF-66A960AE2C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303323"/>
            <a:ext cx="6498721" cy="287044"/>
          </a:xfrm>
        </p:spPr>
        <p:txBody>
          <a:bodyPr/>
          <a:lstStyle/>
          <a:p>
            <a:r>
              <a:rPr lang="en-US" altLang="zh-CN" dirty="0" err="1"/>
              <a:t>Hado</a:t>
            </a:r>
            <a:r>
              <a:rPr lang="en-US" altLang="zh-CN" dirty="0"/>
              <a:t> Hasselt et al. Deep Reinforcement Learning with Double Q-Learning. AAAI 2016.</a:t>
            </a:r>
          </a:p>
        </p:txBody>
      </p:sp>
    </p:spTree>
    <p:extLst>
      <p:ext uri="{BB962C8B-B14F-4D97-AF65-F5344CB8AC3E}">
        <p14:creationId xmlns:p14="http://schemas.microsoft.com/office/powerpoint/2010/main" val="81554678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Double DQN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 dirty="0"/>
          </a:p>
        </p:txBody>
      </p:sp>
      <p:sp>
        <p:nvSpPr>
          <p:cNvPr id="10" name="内容占位符 2 1">
            <a:extLst>
              <a:ext uri="{FF2B5EF4-FFF2-40B4-BE49-F238E27FC236}">
                <a16:creationId xmlns:a16="http://schemas.microsoft.com/office/drawing/2014/main" id="{CDCAA332-9D4F-724E-8817-25287613A799}"/>
              </a:ext>
            </a:extLst>
          </p:cNvPr>
          <p:cNvSpPr txBox="1">
            <a:spLocks/>
          </p:cNvSpPr>
          <p:nvPr/>
        </p:nvSpPr>
        <p:spPr>
          <a:xfrm>
            <a:off x="502439" y="1807812"/>
            <a:ext cx="6899883" cy="12863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用不同的网络来估值和决策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2C8461AF-5B2C-4883-B2C1-F48BB43E242F}"/>
                  </a:ext>
                </a:extLst>
              </p:cNvPr>
              <p:cNvSpPr/>
              <p:nvPr/>
            </p:nvSpPr>
            <p:spPr>
              <a:xfrm>
                <a:off x="2286406" y="2758296"/>
                <a:ext cx="4344523" cy="46397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𝑦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𝑟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𝛾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1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func>
                        <m:func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arg</m:t>
                          </m:r>
                        </m:fName>
                        <m:e>
                          <m:func>
                            <m:func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limLow>
                                <m:limLow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limLow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max</m:t>
                                  </m:r>
                                </m:e>
                                <m:lim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lim>
                              </m:limLow>
                            </m:fName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+1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))</m:t>
                              </m:r>
                            </m:e>
                          </m:func>
                        </m:e>
                      </m:func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2C8461AF-5B2C-4883-B2C1-F48BB43E242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6406" y="2758296"/>
                <a:ext cx="4344523" cy="46397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E84F16AD-A4FE-434C-9D56-EBE0A6612163}"/>
                  </a:ext>
                </a:extLst>
              </p:cNvPr>
              <p:cNvSpPr txBox="1"/>
              <p:nvPr/>
            </p:nvSpPr>
            <p:spPr>
              <a:xfrm>
                <a:off x="2355207" y="3971363"/>
                <a:ext cx="4339713" cy="4639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𝑦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𝑟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𝛾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b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1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func>
                        <m:func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arg</m:t>
                          </m:r>
                        </m:fName>
                        <m:e>
                          <m:func>
                            <m:func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limLow>
                                <m:limLow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limLow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max</m:t>
                                  </m:r>
                                </m:e>
                                <m:lim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lim>
                              </m:limLow>
                            </m:fName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+1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))</m:t>
                              </m:r>
                            </m:e>
                          </m:func>
                        </m:e>
                      </m:func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E84F16AD-A4FE-434C-9D56-EBE0A66121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55207" y="3971363"/>
                <a:ext cx="4339713" cy="46397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矩形 7">
            <a:extLst>
              <a:ext uri="{FF2B5EF4-FFF2-40B4-BE49-F238E27FC236}">
                <a16:creationId xmlns:a16="http://schemas.microsoft.com/office/drawing/2014/main" id="{39CBAB34-1E28-41FE-B4F0-0B84008035E6}"/>
              </a:ext>
            </a:extLst>
          </p:cNvPr>
          <p:cNvSpPr/>
          <p:nvPr/>
        </p:nvSpPr>
        <p:spPr>
          <a:xfrm>
            <a:off x="3562012" y="3939878"/>
            <a:ext cx="348902" cy="46397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E04A82FC-33FB-4B43-BC3C-DE0EE73402E7}"/>
              </a:ext>
            </a:extLst>
          </p:cNvPr>
          <p:cNvSpPr txBox="1"/>
          <p:nvPr/>
        </p:nvSpPr>
        <p:spPr>
          <a:xfrm>
            <a:off x="1581834" y="278917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QN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922EE8E6-5C4A-4AD5-9243-CEECF7888270}"/>
              </a:ext>
            </a:extLst>
          </p:cNvPr>
          <p:cNvSpPr txBox="1"/>
          <p:nvPr/>
        </p:nvSpPr>
        <p:spPr>
          <a:xfrm>
            <a:off x="800210" y="4018683"/>
            <a:ext cx="15632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ouble DQN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3" name="页脚占位符 2">
            <a:extLst>
              <a:ext uri="{FF2B5EF4-FFF2-40B4-BE49-F238E27FC236}">
                <a16:creationId xmlns:a16="http://schemas.microsoft.com/office/drawing/2014/main" id="{F3C23B86-9707-0D8D-CE0E-70C2C80DBD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303323"/>
            <a:ext cx="6498721" cy="287044"/>
          </a:xfrm>
        </p:spPr>
        <p:txBody>
          <a:bodyPr/>
          <a:lstStyle/>
          <a:p>
            <a:r>
              <a:rPr lang="en-US" altLang="zh-CN" dirty="0" err="1"/>
              <a:t>Hado</a:t>
            </a:r>
            <a:r>
              <a:rPr lang="en-US" altLang="zh-CN" dirty="0"/>
              <a:t> Hasselt et al. Deep Reinforcement Learning with Double Q-Learning. AAAI 2016.</a:t>
            </a:r>
          </a:p>
        </p:txBody>
      </p:sp>
    </p:spTree>
    <p:extLst>
      <p:ext uri="{BB962C8B-B14F-4D97-AF65-F5344CB8AC3E}">
        <p14:creationId xmlns:p14="http://schemas.microsoft.com/office/powerpoint/2010/main" val="41639072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71119" y="1"/>
            <a:ext cx="8148541" cy="1028699"/>
          </a:xfrm>
        </p:spPr>
        <p:txBody>
          <a:bodyPr/>
          <a:lstStyle/>
          <a:p>
            <a:r>
              <a:rPr lang="zh-CN" altLang="en-US" dirty="0"/>
              <a:t>在 </a:t>
            </a:r>
            <a:r>
              <a:rPr lang="en-US" altLang="zh-CN" dirty="0"/>
              <a:t>Atari </a:t>
            </a:r>
            <a:r>
              <a:rPr lang="zh-CN" altLang="en-US" dirty="0"/>
              <a:t>环境中的实验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结果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2378CD-0237-4A9B-B2C9-A6AAB8F1F1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4815" y="258853"/>
            <a:ext cx="3433285" cy="590322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D8DBB31F-A3A8-4F92-BCC3-8895DF389845}"/>
                  </a:ext>
                </a:extLst>
              </p:cNvPr>
              <p:cNvSpPr txBox="1"/>
              <p:nvPr/>
            </p:nvSpPr>
            <p:spPr>
              <a:xfrm>
                <a:off x="834112" y="5133817"/>
                <a:ext cx="2232983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altLang="zh-CN" sz="1600" b="0" i="0" smtClean="0">
                          <a:latin typeface="Cambria Math" panose="02040503050406030204" pitchFamily="18" charset="0"/>
                        </a:rPr>
                        <m:t>normalized</m:t>
                      </m:r>
                      <m:r>
                        <a:rPr lang="en-US" altLang="zh-CN" sz="1600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altLang="zh-CN" sz="1600" b="0" i="0" smtClean="0">
                          <a:latin typeface="Cambria Math" panose="02040503050406030204" pitchFamily="18" charset="0"/>
                        </a:rPr>
                        <m:t>performance</m:t>
                      </m:r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D8DBB31F-A3A8-4F92-BCC3-8895DF38984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4112" y="5133817"/>
                <a:ext cx="2232983" cy="246221"/>
              </a:xfrm>
              <a:prstGeom prst="rect">
                <a:avLst/>
              </a:prstGeom>
              <a:blipFill>
                <a:blip r:embed="rId6"/>
                <a:stretch>
                  <a:fillRect l="-1639" r="-2186" b="-3414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3C076A1C-5531-4302-8A42-C7A88F14A293}"/>
                  </a:ext>
                </a:extLst>
              </p:cNvPr>
              <p:cNvSpPr txBox="1"/>
              <p:nvPr/>
            </p:nvSpPr>
            <p:spPr>
              <a:xfrm>
                <a:off x="834112" y="5505530"/>
                <a:ext cx="3363805" cy="50988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6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altLang="zh-CN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DQN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i="0">
                              <a:latin typeface="Cambria Math" panose="02040503050406030204" pitchFamily="18" charset="0"/>
                            </a:rPr>
                            <m:t>sc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ore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−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random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play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score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human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score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−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random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play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score</m:t>
                          </m:r>
                        </m:den>
                      </m:f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3C076A1C-5531-4302-8A42-C7A88F14A2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4112" y="5505530"/>
                <a:ext cx="3363805" cy="509883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" name="图片 9">
            <a:extLst>
              <a:ext uri="{FF2B5EF4-FFF2-40B4-BE49-F238E27FC236}">
                <a16:creationId xmlns:a16="http://schemas.microsoft.com/office/drawing/2014/main" id="{BB4EA6D6-A015-43D5-AA01-9A3A99292E5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4112" y="3671537"/>
            <a:ext cx="4428566" cy="1336788"/>
          </a:xfrm>
          <a:prstGeom prst="rect">
            <a:avLst/>
          </a:prstGeom>
        </p:spPr>
      </p:pic>
      <p:grpSp>
        <p:nvGrpSpPr>
          <p:cNvPr id="14" name="组合 13">
            <a:extLst>
              <a:ext uri="{FF2B5EF4-FFF2-40B4-BE49-F238E27FC236}">
                <a16:creationId xmlns:a16="http://schemas.microsoft.com/office/drawing/2014/main" id="{C1174037-F19B-48E2-A9EC-88E0554A54E8}"/>
              </a:ext>
            </a:extLst>
          </p:cNvPr>
          <p:cNvGrpSpPr/>
          <p:nvPr/>
        </p:nvGrpSpPr>
        <p:grpSpPr>
          <a:xfrm>
            <a:off x="490327" y="1544286"/>
            <a:ext cx="5185281" cy="1801717"/>
            <a:chOff x="4526069" y="1525905"/>
            <a:chExt cx="4402031" cy="1529563"/>
          </a:xfrm>
        </p:grpSpPr>
        <p:pic>
          <p:nvPicPr>
            <p:cNvPr id="11" name="图片 10">
              <a:extLst>
                <a:ext uri="{FF2B5EF4-FFF2-40B4-BE49-F238E27FC236}">
                  <a16:creationId xmlns:a16="http://schemas.microsoft.com/office/drawing/2014/main" id="{165754A4-3DBF-45C0-9AA9-6EAC482AA1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r="95832"/>
            <a:stretch/>
          </p:blipFill>
          <p:spPr>
            <a:xfrm>
              <a:off x="4526069" y="1551040"/>
              <a:ext cx="229398" cy="1504428"/>
            </a:xfrm>
            <a:prstGeom prst="rect">
              <a:avLst/>
            </a:prstGeom>
          </p:spPr>
        </p:pic>
        <p:pic>
          <p:nvPicPr>
            <p:cNvPr id="13" name="图片 12">
              <a:extLst>
                <a:ext uri="{FF2B5EF4-FFF2-40B4-BE49-F238E27FC236}">
                  <a16:creationId xmlns:a16="http://schemas.microsoft.com/office/drawing/2014/main" id="{29AC06DE-8898-4C52-94F4-3F8BFE0C7B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24745"/>
            <a:stretch/>
          </p:blipFill>
          <p:spPr>
            <a:xfrm>
              <a:off x="4786361" y="1525905"/>
              <a:ext cx="4141739" cy="1504428"/>
            </a:xfrm>
            <a:prstGeom prst="rect">
              <a:avLst/>
            </a:prstGeom>
          </p:spPr>
        </p:pic>
      </p:grpSp>
      <p:sp>
        <p:nvSpPr>
          <p:cNvPr id="15" name="内容占位符 2 1">
            <a:extLst>
              <a:ext uri="{FF2B5EF4-FFF2-40B4-BE49-F238E27FC236}">
                <a16:creationId xmlns:a16="http://schemas.microsoft.com/office/drawing/2014/main" id="{A39B8AF9-7799-4210-9849-EE7800494E8E}"/>
              </a:ext>
            </a:extLst>
          </p:cNvPr>
          <p:cNvSpPr txBox="1">
            <a:spLocks/>
          </p:cNvSpPr>
          <p:nvPr/>
        </p:nvSpPr>
        <p:spPr>
          <a:xfrm>
            <a:off x="490328" y="1125913"/>
            <a:ext cx="4095844" cy="4183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价值估计误差</a:t>
            </a:r>
            <a:endParaRPr lang="en-US" altLang="zh-CN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6" name="内容占位符 2 1">
            <a:extLst>
              <a:ext uri="{FF2B5EF4-FFF2-40B4-BE49-F238E27FC236}">
                <a16:creationId xmlns:a16="http://schemas.microsoft.com/office/drawing/2014/main" id="{A9421FF7-3803-4133-8C13-CE1D74D2BEF6}"/>
              </a:ext>
            </a:extLst>
          </p:cNvPr>
          <p:cNvSpPr txBox="1">
            <a:spLocks/>
          </p:cNvSpPr>
          <p:nvPr/>
        </p:nvSpPr>
        <p:spPr>
          <a:xfrm>
            <a:off x="490328" y="3264815"/>
            <a:ext cx="4095844" cy="4183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tari Performance</a:t>
            </a:r>
          </a:p>
        </p:txBody>
      </p:sp>
      <p:sp>
        <p:nvSpPr>
          <p:cNvPr id="17" name="页脚占位符 2">
            <a:extLst>
              <a:ext uri="{FF2B5EF4-FFF2-40B4-BE49-F238E27FC236}">
                <a16:creationId xmlns:a16="http://schemas.microsoft.com/office/drawing/2014/main" id="{8E20ECEA-262D-1691-9124-3DEB2C1449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303323"/>
            <a:ext cx="6498721" cy="287044"/>
          </a:xfrm>
        </p:spPr>
        <p:txBody>
          <a:bodyPr/>
          <a:lstStyle/>
          <a:p>
            <a:r>
              <a:rPr lang="en-US" altLang="zh-CN" dirty="0" err="1"/>
              <a:t>Hado</a:t>
            </a:r>
            <a:r>
              <a:rPr lang="en-US" altLang="zh-CN" dirty="0"/>
              <a:t> Hasselt et al. Deep Reinforcement Learning with Double Q-Learning. AAAI 2016.</a:t>
            </a:r>
          </a:p>
        </p:txBody>
      </p:sp>
    </p:spTree>
    <p:extLst>
      <p:ext uri="{BB962C8B-B14F-4D97-AF65-F5344CB8AC3E}">
        <p14:creationId xmlns:p14="http://schemas.microsoft.com/office/powerpoint/2010/main" val="39687604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kumimoji="1" lang="en-US" altLang="zh-CN" sz="4400" dirty="0"/>
              <a:t>Dueling</a:t>
            </a:r>
            <a:br>
              <a:rPr kumimoji="1" lang="en-US" altLang="zh-CN" sz="4400" dirty="0"/>
            </a:br>
            <a:r>
              <a:rPr kumimoji="1" lang="en-US" altLang="zh-CN" sz="4400" dirty="0"/>
              <a:t>DQN</a:t>
            </a:r>
            <a:endParaRPr kumimoji="1" lang="zh-CN" altLang="en-US" sz="4400" dirty="0"/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4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892926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Dueling DQN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02443" y="6343654"/>
            <a:ext cx="6498721" cy="206381"/>
          </a:xfrm>
        </p:spPr>
        <p:txBody>
          <a:bodyPr/>
          <a:lstStyle/>
          <a:p>
            <a:r>
              <a:rPr lang="en-US" altLang="zh-CN" dirty="0" err="1"/>
              <a:t>Ziyu</a:t>
            </a:r>
            <a:r>
              <a:rPr lang="en-US" altLang="zh-CN" dirty="0"/>
              <a:t> Wang et al. Dueling network architectures for deep reinforcement learning. ICML 2016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F51899C0-F1AB-4349-9DA5-030A7A687345}"/>
              </a:ext>
            </a:extLst>
          </p:cNvPr>
          <p:cNvSpPr txBox="1"/>
          <p:nvPr/>
        </p:nvSpPr>
        <p:spPr>
          <a:xfrm>
            <a:off x="782053" y="1521995"/>
            <a:ext cx="34163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/>
              <a:t>假设动作值函数服从某个分布：</a:t>
            </a:r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1B6A922C-B658-4874-B909-77B125269FF9}"/>
                  </a:ext>
                </a:extLst>
              </p:cNvPr>
              <p:cNvSpPr txBox="1"/>
              <p:nvPr/>
            </p:nvSpPr>
            <p:spPr>
              <a:xfrm>
                <a:off x="2941722" y="2199956"/>
                <a:ext cx="2011705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𝑄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∼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𝒩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𝜇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𝜎</m:t>
                          </m:r>
                        </m:e>
                      </m:d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1B6A922C-B658-4874-B909-77B125269FF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41722" y="2199956"/>
                <a:ext cx="2011705" cy="369332"/>
              </a:xfrm>
              <a:prstGeom prst="rect">
                <a:avLst/>
              </a:prstGeom>
              <a:blipFill>
                <a:blip r:embed="rId4"/>
                <a:stretch>
                  <a:fillRect b="-11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FC2A120D-B499-4C46-9057-5431071B5BAC}"/>
                  </a:ext>
                </a:extLst>
              </p:cNvPr>
              <p:cNvSpPr txBox="1"/>
              <p:nvPr/>
            </p:nvSpPr>
            <p:spPr>
              <a:xfrm>
                <a:off x="2415808" y="3080584"/>
                <a:ext cx="3063531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/>
                  <a:t>显然：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𝑉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𝔼</m:t>
                    </m:r>
                    <m:d>
                      <m:dPr>
                        <m:begChr m:val="["/>
                        <m:endChr m:val="]"/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𝑄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𝑠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</m:d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𝜇</m:t>
                    </m:r>
                  </m:oMath>
                </a14:m>
                <a:endParaRPr lang="en-US"/>
              </a:p>
            </p:txBody>
          </p:sp>
        </mc:Choice>
        <mc:Fallback xmlns="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FC2A120D-B499-4C46-9057-5431071B5BA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15808" y="3080584"/>
                <a:ext cx="3063531" cy="369332"/>
              </a:xfrm>
              <a:prstGeom prst="rect">
                <a:avLst/>
              </a:prstGeom>
              <a:blipFill>
                <a:blip r:embed="rId5"/>
                <a:stretch>
                  <a:fillRect l="-1590" t="-8197" b="-2459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66B63EE8-2B9C-4987-B24A-237389FBD7DE}"/>
                  </a:ext>
                </a:extLst>
              </p:cNvPr>
              <p:cNvSpPr txBox="1"/>
              <p:nvPr/>
            </p:nvSpPr>
            <p:spPr>
              <a:xfrm>
                <a:off x="2415808" y="3819248"/>
                <a:ext cx="314162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/>
                  <a:t>同样有：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𝑄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𝜇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𝜀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</m:d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66B63EE8-2B9C-4987-B24A-237389FBD7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15808" y="3819248"/>
                <a:ext cx="3141629" cy="369332"/>
              </a:xfrm>
              <a:prstGeom prst="rect">
                <a:avLst/>
              </a:prstGeom>
              <a:blipFill>
                <a:blip r:embed="rId6"/>
                <a:stretch>
                  <a:fillRect l="-1550" t="-10000" b="-2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7DB986C1-2AB7-4C76-81B3-2705BCCCB31A}"/>
              </a:ext>
            </a:extLst>
          </p:cNvPr>
          <p:cNvSpPr txBox="1">
            <a:spLocks/>
          </p:cNvSpPr>
          <p:nvPr/>
        </p:nvSpPr>
        <p:spPr>
          <a:xfrm>
            <a:off x="782053" y="4463923"/>
            <a:ext cx="1016668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问题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404FFA76-1F5D-424D-A179-4D592649E362}"/>
                  </a:ext>
                </a:extLst>
              </p:cNvPr>
              <p:cNvSpPr txBox="1"/>
              <p:nvPr/>
            </p:nvSpPr>
            <p:spPr>
              <a:xfrm>
                <a:off x="782053" y="5132468"/>
                <a:ext cx="193764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/>
                  <a:t>如何描述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𝜀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</m:d>
                  </m:oMath>
                </a14:m>
                <a:r>
                  <a:rPr lang="en-US" dirty="0"/>
                  <a:t>?</a:t>
                </a:r>
              </a:p>
            </p:txBody>
          </p:sp>
        </mc:Choice>
        <mc:Fallback xmlns="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404FFA76-1F5D-424D-A179-4D592649E3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2053" y="5132468"/>
                <a:ext cx="1937646" cy="369332"/>
              </a:xfrm>
              <a:prstGeom prst="rect">
                <a:avLst/>
              </a:prstGeom>
              <a:blipFill>
                <a:blip r:embed="rId7"/>
                <a:stretch>
                  <a:fillRect l="-2516" t="-9836" r="-1887" b="-2459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E68B800C-DB16-431D-8F37-A703D1505618}"/>
                  </a:ext>
                </a:extLst>
              </p:cNvPr>
              <p:cNvSpPr txBox="1"/>
              <p:nvPr/>
            </p:nvSpPr>
            <p:spPr>
              <a:xfrm>
                <a:off x="3050005" y="5132468"/>
                <a:ext cx="270433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𝜀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𝑄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E68B800C-DB16-431D-8F37-A703D15056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50005" y="5132468"/>
                <a:ext cx="2704330" cy="369332"/>
              </a:xfrm>
              <a:prstGeom prst="rect">
                <a:avLst/>
              </a:prstGeom>
              <a:blipFill>
                <a:blip r:embed="rId8"/>
                <a:stretch>
                  <a:fillRect b="-983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文本框 18">
            <a:extLst>
              <a:ext uri="{FF2B5EF4-FFF2-40B4-BE49-F238E27FC236}">
                <a16:creationId xmlns:a16="http://schemas.microsoft.com/office/drawing/2014/main" id="{A066D5D7-37D1-42CD-ABE0-68C9AD01B1E9}"/>
              </a:ext>
            </a:extLst>
          </p:cNvPr>
          <p:cNvSpPr txBox="1"/>
          <p:nvPr/>
        </p:nvSpPr>
        <p:spPr>
          <a:xfrm>
            <a:off x="6148761" y="5132468"/>
            <a:ext cx="24416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也称为</a:t>
            </a:r>
            <a:r>
              <a:rPr lang="en-US" altLang="zh-CN" dirty="0"/>
              <a:t>Advantage</a:t>
            </a:r>
            <a:r>
              <a:rPr lang="zh-CN" altLang="en-US" dirty="0"/>
              <a:t>函数</a:t>
            </a:r>
            <a:endParaRPr lang="en-US" dirty="0"/>
          </a:p>
        </p:txBody>
      </p: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629B1EBC-4A70-47FC-9FF4-70D695B6ABEC}"/>
              </a:ext>
            </a:extLst>
          </p:cNvPr>
          <p:cNvCxnSpPr>
            <a:stCxn id="17" idx="3"/>
            <a:endCxn id="18" idx="1"/>
          </p:cNvCxnSpPr>
          <p:nvPr/>
        </p:nvCxnSpPr>
        <p:spPr>
          <a:xfrm>
            <a:off x="2719699" y="5317134"/>
            <a:ext cx="33030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52366C75-E4A6-4583-8970-6EA37BAF8C29}"/>
              </a:ext>
            </a:extLst>
          </p:cNvPr>
          <p:cNvCxnSpPr>
            <a:stCxn id="18" idx="3"/>
            <a:endCxn id="19" idx="1"/>
          </p:cNvCxnSpPr>
          <p:nvPr/>
        </p:nvCxnSpPr>
        <p:spPr>
          <a:xfrm>
            <a:off x="5754335" y="5317134"/>
            <a:ext cx="39442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矩形 24">
            <a:extLst>
              <a:ext uri="{FF2B5EF4-FFF2-40B4-BE49-F238E27FC236}">
                <a16:creationId xmlns:a16="http://schemas.microsoft.com/office/drawing/2014/main" id="{F41AAD8B-8634-4C1F-B335-79A249EB6C1E}"/>
              </a:ext>
            </a:extLst>
          </p:cNvPr>
          <p:cNvSpPr/>
          <p:nvPr/>
        </p:nvSpPr>
        <p:spPr>
          <a:xfrm>
            <a:off x="4772066" y="3771927"/>
            <a:ext cx="707273" cy="46397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418F6E92-7E65-48F1-B963-FA3312C7979B}"/>
              </a:ext>
            </a:extLst>
          </p:cNvPr>
          <p:cNvSpPr txBox="1"/>
          <p:nvPr/>
        </p:nvSpPr>
        <p:spPr>
          <a:xfrm>
            <a:off x="6019367" y="4209138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/>
              <a:t>偏移量</a:t>
            </a:r>
            <a:endParaRPr lang="en-US"/>
          </a:p>
        </p:txBody>
      </p:sp>
      <p:cxnSp>
        <p:nvCxnSpPr>
          <p:cNvPr id="27" name="直接箭头连接符 26">
            <a:extLst>
              <a:ext uri="{FF2B5EF4-FFF2-40B4-BE49-F238E27FC236}">
                <a16:creationId xmlns:a16="http://schemas.microsoft.com/office/drawing/2014/main" id="{B4FD96AF-CBE5-4CD3-89C0-1D333BD6AD4D}"/>
              </a:ext>
            </a:extLst>
          </p:cNvPr>
          <p:cNvCxnSpPr>
            <a:cxnSpLocks/>
            <a:stCxn id="26" idx="1"/>
          </p:cNvCxnSpPr>
          <p:nvPr/>
        </p:nvCxnSpPr>
        <p:spPr>
          <a:xfrm flipH="1" flipV="1">
            <a:off x="5557437" y="4180608"/>
            <a:ext cx="461930" cy="2131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58498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Dueling DQN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 dirty="0"/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BA8BB5BE-7181-BE46-AD89-DA62294A69F2}"/>
              </a:ext>
            </a:extLst>
          </p:cNvPr>
          <p:cNvSpPr txBox="1">
            <a:spLocks/>
          </p:cNvSpPr>
          <p:nvPr/>
        </p:nvSpPr>
        <p:spPr>
          <a:xfrm>
            <a:off x="502444" y="1374739"/>
            <a:ext cx="2914524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Advantage 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函数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770886" y="3132542"/>
                <a:ext cx="3184043" cy="43590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</m:e>
                        <m:sup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</m:d>
                      <m:r>
                        <m:rPr>
                          <m:aln/>
                        </m:rP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∼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p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sz="18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en-US" altLang="zh-CN" sz="1800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8771E2D8-53A5-A047-94AF-55A3B43B4C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70886" y="3132542"/>
                <a:ext cx="3184043" cy="43590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文本占位符 3">
            <a:extLst>
              <a:ext uri="{FF2B5EF4-FFF2-40B4-BE49-F238E27FC236}">
                <a16:creationId xmlns:a16="http://schemas.microsoft.com/office/drawing/2014/main" id="{E4202A0A-7784-47B4-ADF0-83D64B43D0EA}"/>
              </a:ext>
            </a:extLst>
          </p:cNvPr>
          <p:cNvSpPr txBox="1">
            <a:spLocks/>
          </p:cNvSpPr>
          <p:nvPr/>
        </p:nvSpPr>
        <p:spPr>
          <a:xfrm>
            <a:off x="502441" y="3762737"/>
            <a:ext cx="3756738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0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不同的</a:t>
            </a:r>
            <a:r>
              <a:rPr lang="en-US" altLang="zh-CN" b="0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Advantage</a:t>
            </a:r>
            <a:r>
              <a:rPr lang="zh-CN" altLang="en-US" b="0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聚合形式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内容占位符 2">
                <a:extLst>
                  <a:ext uri="{FF2B5EF4-FFF2-40B4-BE49-F238E27FC236}">
                    <a16:creationId xmlns:a16="http://schemas.microsoft.com/office/drawing/2014/main" id="{D23FBDE8-6B6F-4C7F-80BA-1E98BD2DABA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4347625"/>
                <a:ext cx="8137922" cy="54272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𝑄</m:t>
                      </m:r>
                      <m:d>
                        <m:d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;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𝛼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𝛽</m:t>
                          </m:r>
                        </m:e>
                      </m:d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;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sz="18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𝛽</m:t>
                          </m:r>
                        </m:e>
                      </m:d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𝐴</m:t>
                      </m:r>
                      <m:d>
                        <m:d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;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𝛼</m:t>
                          </m:r>
                        </m:e>
                      </m:d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func>
                        <m:func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 sz="180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max</m:t>
                              </m:r>
                            </m:e>
                            <m:lim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∈</m:t>
                              </m:r>
                              <m:d>
                                <m:dPr>
                                  <m:begChr m:val="|"/>
                                  <m:endChr m:val="|"/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𝐴</m:t>
                                  </m:r>
                                </m:e>
                              </m:d>
                            </m:lim>
                          </m:limLow>
                        </m:fName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𝐴</m:t>
                          </m:r>
                          <m:d>
                            <m:d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;</m:t>
                              </m:r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𝛼</m:t>
                              </m:r>
                            </m:e>
                          </m:d>
                        </m:e>
                      </m:func>
                      <m:r>
                        <a:rPr lang="en-US" altLang="zh-CN" sz="18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sz="1800" b="0" dirty="0">
                  <a:latin typeface="阿里巴巴普惠体 B" panose="00020600040101010101" pitchFamily="18" charset="-122"/>
                  <a:ea typeface="阿里巴巴普惠体 B" panose="00020600040101010101" pitchFamily="18" charset="-122"/>
                  <a:cs typeface="阿里巴巴普惠体 B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4" name="内容占位符 2">
                <a:extLst>
                  <a:ext uri="{FF2B5EF4-FFF2-40B4-BE49-F238E27FC236}">
                    <a16:creationId xmlns:a16="http://schemas.microsoft.com/office/drawing/2014/main" id="{D23FBDE8-6B6F-4C7F-80BA-1E98BD2DAB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347625"/>
                <a:ext cx="8137922" cy="54272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218227BC-0EF9-49E4-8BE7-5F24EF7E4F79}"/>
                  </a:ext>
                </a:extLst>
              </p:cNvPr>
              <p:cNvSpPr txBox="1"/>
              <p:nvPr/>
            </p:nvSpPr>
            <p:spPr>
              <a:xfrm>
                <a:off x="2942117" y="2576373"/>
                <a:ext cx="354231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</m:d>
                      <m:r>
                        <m:rPr>
                          <m:aln/>
                        </m:rP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𝔼</m:t>
                      </m:r>
                      <m:d>
                        <m:dPr>
                          <m:begChr m:val="["/>
                          <m:endChr m:val="]"/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218227BC-0EF9-49E4-8BE7-5F24EF7E4F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42117" y="2576373"/>
                <a:ext cx="3542316" cy="369332"/>
              </a:xfrm>
              <a:prstGeom prst="rect">
                <a:avLst/>
              </a:prstGeom>
              <a:blipFill>
                <a:blip r:embed="rId6"/>
                <a:stretch>
                  <a:fillRect b="-11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48FFFAD7-15AB-467C-AFE7-B6C914DF075B}"/>
                  </a:ext>
                </a:extLst>
              </p:cNvPr>
              <p:cNvSpPr txBox="1"/>
              <p:nvPr/>
            </p:nvSpPr>
            <p:spPr>
              <a:xfrm>
                <a:off x="2942117" y="2020205"/>
                <a:ext cx="301281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𝐴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</m:d>
                      <m:r>
                        <m:rPr>
                          <m:aln/>
                        </m:rP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48FFFAD7-15AB-467C-AFE7-B6C914DF07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42117" y="2020205"/>
                <a:ext cx="3012812" cy="369332"/>
              </a:xfrm>
              <a:prstGeom prst="rect">
                <a:avLst/>
              </a:prstGeom>
              <a:blipFill>
                <a:blip r:embed="rId7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FFB93C56-2143-4DBA-8EA8-AF83C201B1B1}"/>
                  </a:ext>
                </a:extLst>
              </p:cNvPr>
              <p:cNvSpPr txBox="1"/>
              <p:nvPr/>
            </p:nvSpPr>
            <p:spPr>
              <a:xfrm>
                <a:off x="1367684" y="5101945"/>
                <a:ext cx="6697015" cy="9269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𝑄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;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𝛼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𝛽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;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𝛽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(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𝐴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;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𝛼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func>
                        <m:func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</m:t>
                              </m:r>
                            </m:num>
                            <m:den>
                              <m:d>
                                <m:dPr>
                                  <m:begChr m:val="|"/>
                                  <m:endChr m:val="|"/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𝐴</m:t>
                                  </m:r>
                                </m:e>
                              </m:d>
                            </m:den>
                          </m:f>
                          <m:nary>
                            <m:naryPr>
                              <m:chr m:val="∑"/>
                              <m:limLoc m:val="subSup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m:rPr>
                                      <m:brk m:alnAt="9"/>
                                    </m:r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  <m:sup/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𝐴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;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𝛼</m:t>
                              </m:r>
                            </m:e>
                          </m:nary>
                        </m:fName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e>
                      </m:func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B" panose="00020600040101010101" pitchFamily="18" charset="-122"/>
                  <a:ea typeface="阿里巴巴普惠体 B" panose="00020600040101010101" pitchFamily="18" charset="-122"/>
                  <a:cs typeface="阿里巴巴普惠体 B" panose="00020600040101010101" pitchFamily="18" charset="-122"/>
                </a:endParaRPr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FFB93C56-2143-4DBA-8EA8-AF83C201B1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67684" y="5101945"/>
                <a:ext cx="6697015" cy="92692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矩形 11">
            <a:extLst>
              <a:ext uri="{FF2B5EF4-FFF2-40B4-BE49-F238E27FC236}">
                <a16:creationId xmlns:a16="http://schemas.microsoft.com/office/drawing/2014/main" id="{40E7A467-4AB9-4C6E-86BB-11A8E5E44DB6}"/>
              </a:ext>
            </a:extLst>
          </p:cNvPr>
          <p:cNvSpPr/>
          <p:nvPr/>
        </p:nvSpPr>
        <p:spPr>
          <a:xfrm>
            <a:off x="4267162" y="4341632"/>
            <a:ext cx="3548151" cy="57693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DFB6F066-947C-4E82-BC5B-1C83D673E038}"/>
              </a:ext>
            </a:extLst>
          </p:cNvPr>
          <p:cNvSpPr/>
          <p:nvPr/>
        </p:nvSpPr>
        <p:spPr>
          <a:xfrm>
            <a:off x="4319150" y="5130162"/>
            <a:ext cx="3745549" cy="64735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页脚占位符 2">
            <a:extLst>
              <a:ext uri="{FF2B5EF4-FFF2-40B4-BE49-F238E27FC236}">
                <a16:creationId xmlns:a16="http://schemas.microsoft.com/office/drawing/2014/main" id="{AD175A9B-D52D-FB32-1724-E5CF689310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343654"/>
            <a:ext cx="6498721" cy="206381"/>
          </a:xfrm>
        </p:spPr>
        <p:txBody>
          <a:bodyPr/>
          <a:lstStyle/>
          <a:p>
            <a:r>
              <a:rPr lang="en-US" altLang="zh-CN" dirty="0" err="1"/>
              <a:t>Ziyu</a:t>
            </a:r>
            <a:r>
              <a:rPr lang="en-US" altLang="zh-CN" dirty="0"/>
              <a:t> Wang et al. Dueling network architectures for deep reinforcement learning. ICML 2016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81572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464" y="361507"/>
            <a:ext cx="7870345" cy="679131"/>
          </a:xfrm>
        </p:spPr>
        <p:txBody>
          <a:bodyPr/>
          <a:lstStyle/>
          <a:p>
            <a:r>
              <a:rPr lang="zh-CN" altLang="en-US" dirty="0"/>
              <a:t>课程回顾：价值和策略的近似逼近方法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内容占位符 3">
                <a:extLst>
                  <a:ext uri="{FF2B5EF4-FFF2-40B4-BE49-F238E27FC236}">
                    <a16:creationId xmlns:a16="http://schemas.microsoft.com/office/drawing/2014/main" id="{83515A53-D28B-4149-8676-420D29BF58AB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502444" y="1474381"/>
                <a:ext cx="8137922" cy="4662894"/>
              </a:xfrm>
            </p:spPr>
            <p:txBody>
              <a:bodyPr>
                <a:normAutofit/>
              </a:bodyPr>
              <a:lstStyle/>
              <a:p>
                <a:r>
                  <a:rPr lang="zh-CN" altLang="en-US" sz="2000" dirty="0"/>
                  <a:t>价值和策略的近似逼近方法是强化学习技术从‘玩具’ 走向‘现实’ 的第一步，是深度强化学习的基础设置</a:t>
                </a:r>
                <a:endParaRPr lang="en-US" altLang="zh-CN" sz="2000" dirty="0"/>
              </a:p>
              <a:p>
                <a:r>
                  <a:rPr lang="zh-CN" altLang="en-US" sz="2000" dirty="0"/>
                  <a:t>参数化的价值函数（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𝜙</m:t>
                        </m:r>
                      </m:sub>
                    </m:sSub>
                    <m:d>
                      <m:dPr>
                        <m:ctrlP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𝑄</m:t>
                        </m:r>
                      </m:e>
                      <m:sub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𝜙</m:t>
                        </m:r>
                      </m:sub>
                    </m:sSub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zh-CN" altLang="en-US" sz="2000" dirty="0"/>
                  <a:t>）和策略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b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𝜃</m:t>
                        </m:r>
                      </m:sub>
                    </m:sSub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|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sz="2000" dirty="0"/>
              </a:p>
              <a:p>
                <a:pPr>
                  <a:spcAft>
                    <a:spcPts val="1200"/>
                  </a:spcAft>
                </a:pPr>
                <a:r>
                  <a:rPr lang="zh-CN" altLang="en-US" sz="2000" dirty="0"/>
                  <a:t>通过链式法则，价值函数的参数可以被直接学习</a:t>
                </a:r>
                <a:endParaRPr lang="en-US" altLang="zh-CN" sz="2000" dirty="0"/>
              </a:p>
              <a:p>
                <a:pPr marL="0" indent="0">
                  <a:spcAft>
                    <a:spcPts val="12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eqArr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𝜙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←&amp;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𝜙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𝛼</m:t>
                          </m:r>
                          <m:d>
                            <m:d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200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  <m:r>
                                <a:rPr lang="en-US" altLang="zh-CN" sz="2000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altLang="zh-CN" sz="2000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</a:rPr>
                                <m:t>𝛾</m:t>
                              </m:r>
                              <m:sSub>
                                <m:sSubPr>
                                  <m:ctrlPr>
                                    <a:rPr lang="en-US" altLang="zh-CN" sz="2000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</a:rPr>
                                    <m:t>𝜙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sz="2000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i="1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i="1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2000" i="1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en-US" altLang="zh-CN" sz="2000" i="1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+1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𝜙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</m:d>
                            </m:e>
                          </m:d>
                          <m:f>
                            <m:f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𝜙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num>
                            <m:den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𝜕𝜙</m:t>
                              </m:r>
                            </m:den>
                          </m:f>
                        </m:e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&amp;</m:t>
                          </m:r>
                        </m:e>
                      </m:eqArr>
                    </m:oMath>
                  </m:oMathPara>
                </a14:m>
                <a:endParaRPr lang="en-US" altLang="zh-CN" sz="2000" dirty="0"/>
              </a:p>
              <a:p>
                <a:pPr>
                  <a:spcAft>
                    <a:spcPts val="1200"/>
                  </a:spcAft>
                </a:pPr>
                <a:r>
                  <a:rPr lang="zh-CN" altLang="en-US" sz="2000" dirty="0"/>
                  <a:t>通过</a:t>
                </a:r>
                <a:r>
                  <a:rPr lang="en-US" altLang="zh-CN" sz="2000" dirty="0"/>
                  <a:t>likelihood-ratio</a:t>
                </a:r>
                <a:r>
                  <a:rPr lang="zh-CN" altLang="en-US" sz="2000" dirty="0"/>
                  <a:t>方法，可以用</a:t>
                </a:r>
                <a:r>
                  <a:rPr lang="en-US" altLang="zh-CN" sz="2000" dirty="0"/>
                  <a:t>advantage</a:t>
                </a:r>
                <a:r>
                  <a:rPr lang="zh-CN" altLang="en-US" sz="2000" dirty="0"/>
                  <a:t>对策略的参数进行学习</a:t>
                </a:r>
                <a:endParaRPr lang="en-US" altLang="zh-CN" sz="2000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sz="200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𝐽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zh-CN" altLang="en-US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log</m:t>
                              </m:r>
                              <m:sSub>
                                <m:sSub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sSup>
                            <m:sSupPr>
                              <m:ctrlPr>
                                <a:rPr lang="en-US" altLang="zh-CN" sz="200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2000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altLang="zh-CN" sz="2000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</m:sup>
                          </m:sSup>
                          <m:r>
                            <a:rPr lang="en-US" altLang="zh-CN" sz="20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sz="20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sz="20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sz="20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sz="20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e>
                      </m:d>
                    </m:oMath>
                  </m:oMathPara>
                </a14:m>
                <a:endParaRPr lang="en-US" altLang="zh-CN" sz="2000" dirty="0"/>
              </a:p>
              <a:p>
                <a:pPr>
                  <a:spcBef>
                    <a:spcPts val="1800"/>
                  </a:spcBef>
                </a:pPr>
                <a:r>
                  <a:rPr lang="en-US" altLang="zh-CN" sz="2000" dirty="0"/>
                  <a:t>Actor-critic</a:t>
                </a:r>
                <a:r>
                  <a:rPr lang="zh-CN" altLang="en-US" sz="2000" dirty="0"/>
                  <a:t>框架同时学习了价值函数和策略，通过价值函数的</a:t>
                </a:r>
                <a:r>
                  <a:rPr lang="en-US" altLang="zh-CN" sz="2000" dirty="0"/>
                  <a:t>Q</a:t>
                </a:r>
                <a:r>
                  <a:rPr lang="zh-CN" altLang="en-US" sz="2000" dirty="0"/>
                  <a:t>（或</a:t>
                </a:r>
                <a:r>
                  <a:rPr lang="en-US" altLang="zh-CN" sz="2000" dirty="0"/>
                  <a:t>Advantage</a:t>
                </a:r>
                <a:r>
                  <a:rPr lang="zh-CN" altLang="en-US" sz="2000" dirty="0"/>
                  <a:t>）估计，以策略梯度的方式更新策略参数</a:t>
                </a:r>
              </a:p>
            </p:txBody>
          </p:sp>
        </mc:Choice>
        <mc:Fallback xmlns="">
          <p:sp>
            <p:nvSpPr>
              <p:cNvPr id="4" name="内容占位符 3">
                <a:extLst>
                  <a:ext uri="{FF2B5EF4-FFF2-40B4-BE49-F238E27FC236}">
                    <a16:creationId xmlns:a16="http://schemas.microsoft.com/office/drawing/2014/main" id="{83515A53-D28B-4149-8676-420D29BF58A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502444" y="1474381"/>
                <a:ext cx="8137922" cy="4662894"/>
              </a:xfrm>
              <a:blipFill>
                <a:blip r:embed="rId2"/>
                <a:stretch>
                  <a:fillRect l="-674" t="-1438" r="-7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文本框 4">
            <a:extLst>
              <a:ext uri="{FF2B5EF4-FFF2-40B4-BE49-F238E27FC236}">
                <a16:creationId xmlns:a16="http://schemas.microsoft.com/office/drawing/2014/main" id="{08E20A4E-13E3-4EEE-837D-DCC3B6B0697C}"/>
              </a:ext>
            </a:extLst>
          </p:cNvPr>
          <p:cNvSpPr txBox="1"/>
          <p:nvPr/>
        </p:nvSpPr>
        <p:spPr>
          <a:xfrm>
            <a:off x="4229100" y="3477127"/>
            <a:ext cx="6078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100" dirty="0">
                <a:solidFill>
                  <a:srgbClr val="00B0F0"/>
                </a:solidFill>
              </a:rPr>
              <a:t>无梯度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25563F9-08BF-4504-A78C-D3FDAAD2DF8A}"/>
              </a:ext>
            </a:extLst>
          </p:cNvPr>
          <p:cNvSpPr txBox="1"/>
          <p:nvPr/>
        </p:nvSpPr>
        <p:spPr>
          <a:xfrm>
            <a:off x="5690937" y="4836696"/>
            <a:ext cx="6078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100" dirty="0">
                <a:solidFill>
                  <a:srgbClr val="00B0F0"/>
                </a:solidFill>
              </a:rPr>
              <a:t>无梯度</a:t>
            </a:r>
          </a:p>
        </p:txBody>
      </p:sp>
    </p:spTree>
    <p:extLst>
      <p:ext uri="{BB962C8B-B14F-4D97-AF65-F5344CB8AC3E}">
        <p14:creationId xmlns:p14="http://schemas.microsoft.com/office/powerpoint/2010/main" val="119445044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网络结构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 dirty="0"/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2" y="1938728"/>
            <a:ext cx="8137922" cy="8279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572A308-2493-44CB-BC21-2AEFD6EF7A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2115" y="1938728"/>
            <a:ext cx="5085834" cy="3774708"/>
          </a:xfrm>
          <a:prstGeom prst="rect">
            <a:avLst/>
          </a:prstGeom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806F365-7A89-4152-860C-75066A79E39F}"/>
              </a:ext>
            </a:extLst>
          </p:cNvPr>
          <p:cNvCxnSpPr/>
          <p:nvPr/>
        </p:nvCxnSpPr>
        <p:spPr>
          <a:xfrm flipH="1">
            <a:off x="5719335" y="3731491"/>
            <a:ext cx="249382" cy="3232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7CB9D0F-4DB4-4855-8626-AFB2788B0177}"/>
              </a:ext>
            </a:extLst>
          </p:cNvPr>
          <p:cNvCxnSpPr/>
          <p:nvPr/>
        </p:nvCxnSpPr>
        <p:spPr>
          <a:xfrm flipH="1" flipV="1">
            <a:off x="5719335" y="5440218"/>
            <a:ext cx="323273" cy="2732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71442F2-F4C6-4F3C-83AB-1EACD16747A0}"/>
              </a:ext>
            </a:extLst>
          </p:cNvPr>
          <p:cNvCxnSpPr/>
          <p:nvPr/>
        </p:nvCxnSpPr>
        <p:spPr>
          <a:xfrm flipH="1">
            <a:off x="5719335" y="2475345"/>
            <a:ext cx="249382" cy="2913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A4A91E9-95A7-4971-97AB-4E0139D3E99F}"/>
              </a:ext>
            </a:extLst>
          </p:cNvPr>
          <p:cNvSpPr txBox="1"/>
          <p:nvPr/>
        </p:nvSpPr>
        <p:spPr>
          <a:xfrm>
            <a:off x="5991457" y="2287445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Q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函数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2C66543-4510-42CE-9AA5-1686DDCFE72B}"/>
              </a:ext>
            </a:extLst>
          </p:cNvPr>
          <p:cNvSpPr txBox="1"/>
          <p:nvPr/>
        </p:nvSpPr>
        <p:spPr>
          <a:xfrm>
            <a:off x="5991456" y="3520561"/>
            <a:ext cx="13388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状态值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1001C64-14FF-471B-950C-32DC7681BA0B}"/>
              </a:ext>
            </a:extLst>
          </p:cNvPr>
          <p:cNvSpPr txBox="1"/>
          <p:nvPr/>
        </p:nvSpPr>
        <p:spPr>
          <a:xfrm>
            <a:off x="6058676" y="5472190"/>
            <a:ext cx="18376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dvantage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函数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5" name="页脚占位符 2">
            <a:extLst>
              <a:ext uri="{FF2B5EF4-FFF2-40B4-BE49-F238E27FC236}">
                <a16:creationId xmlns:a16="http://schemas.microsoft.com/office/drawing/2014/main" id="{BE771EFA-5BC7-3EB2-0C57-C5E47D9F56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343654"/>
            <a:ext cx="6498721" cy="206381"/>
          </a:xfrm>
        </p:spPr>
        <p:txBody>
          <a:bodyPr/>
          <a:lstStyle/>
          <a:p>
            <a:r>
              <a:rPr lang="en-US" altLang="zh-CN" dirty="0" err="1"/>
              <a:t>Ziyu</a:t>
            </a:r>
            <a:r>
              <a:rPr lang="en-US" altLang="zh-CN" dirty="0"/>
              <a:t> Wang et al. Dueling network architectures for deep reinforcement learning. ICML 2016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106933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优点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 dirty="0"/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771E2D8-53A5-A047-94AF-55A3B43B4C5A}"/>
              </a:ext>
            </a:extLst>
          </p:cNvPr>
          <p:cNvSpPr txBox="1">
            <a:spLocks/>
          </p:cNvSpPr>
          <p:nvPr/>
        </p:nvSpPr>
        <p:spPr>
          <a:xfrm>
            <a:off x="502442" y="1938728"/>
            <a:ext cx="8137922" cy="8279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E74ADA0-3B6C-41F9-985B-C8EA03341D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6045" y="2636604"/>
            <a:ext cx="2569895" cy="3451459"/>
          </a:xfrm>
          <a:prstGeom prst="rect">
            <a:avLst/>
          </a:prstGeom>
        </p:spPr>
      </p:pic>
      <p:sp>
        <p:nvSpPr>
          <p:cNvPr id="9" name="内容占位符 2 1">
            <a:extLst>
              <a:ext uri="{FF2B5EF4-FFF2-40B4-BE49-F238E27FC236}">
                <a16:creationId xmlns:a16="http://schemas.microsoft.com/office/drawing/2014/main" id="{9C9F9A31-5ECC-4DEE-B97A-BD1A8253BF73}"/>
              </a:ext>
            </a:extLst>
          </p:cNvPr>
          <p:cNvSpPr txBox="1">
            <a:spLocks/>
          </p:cNvSpPr>
          <p:nvPr/>
        </p:nvSpPr>
        <p:spPr>
          <a:xfrm>
            <a:off x="654842" y="1537498"/>
            <a:ext cx="8137922" cy="1332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处理与动作关联较小的状态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状态值函数的学习较为有效：一个状态值函数对应多个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dvantage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FDCF1A-1D1F-4BC7-81A3-78FA7158AD87}"/>
              </a:ext>
            </a:extLst>
          </p:cNvPr>
          <p:cNvSpPr txBox="1"/>
          <p:nvPr/>
        </p:nvSpPr>
        <p:spPr>
          <a:xfrm>
            <a:off x="5838340" y="3116442"/>
            <a:ext cx="18112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可以在不考虑动作的影响下判断出该状态的好坏。</a:t>
            </a:r>
            <a:endParaRPr lang="en-US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ED43D4A-2CA2-4B97-8649-F0EE158CD657}"/>
              </a:ext>
            </a:extLst>
          </p:cNvPr>
          <p:cNvSpPr/>
          <p:nvPr/>
        </p:nvSpPr>
        <p:spPr>
          <a:xfrm>
            <a:off x="5838339" y="4888910"/>
            <a:ext cx="250031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可以强调动作的重要性：</a:t>
            </a:r>
            <a:r>
              <a:rPr lang="en-US" altLang="zh-CN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dvantage</a:t>
            </a: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学会只在</a:t>
            </a:r>
            <a:r>
              <a:rPr lang="en-US" altLang="zh-CN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gent</a:t>
            </a: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面前有车的时候会加强注意力</a:t>
            </a:r>
            <a:endParaRPr lang="en-US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9478F071-13DA-4E52-9198-3444BEAC8731}"/>
              </a:ext>
            </a:extLst>
          </p:cNvPr>
          <p:cNvSpPr/>
          <p:nvPr/>
        </p:nvSpPr>
        <p:spPr>
          <a:xfrm>
            <a:off x="778097" y="3987801"/>
            <a:ext cx="221469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latin typeface="NimbusRomNo9L-Regu"/>
              </a:rPr>
              <a:t>显著区域</a:t>
            </a:r>
            <a:endParaRPr lang="en-US" altLang="zh-CN" dirty="0">
              <a:latin typeface="NimbusRomNo9L-Regu"/>
            </a:endParaRPr>
          </a:p>
          <a:p>
            <a:pPr algn="ctr"/>
            <a:r>
              <a:rPr lang="en-US" altLang="zh-CN" dirty="0">
                <a:latin typeface="NimbusRomNo9L-Regu"/>
              </a:rPr>
              <a:t>(saliency maps)</a:t>
            </a:r>
            <a:endParaRPr lang="zh-CN" altLang="en-US" dirty="0"/>
          </a:p>
        </p:txBody>
      </p:sp>
      <p:sp>
        <p:nvSpPr>
          <p:cNvPr id="12" name="页脚占位符 2">
            <a:extLst>
              <a:ext uri="{FF2B5EF4-FFF2-40B4-BE49-F238E27FC236}">
                <a16:creationId xmlns:a16="http://schemas.microsoft.com/office/drawing/2014/main" id="{62A9A199-53AF-2FFA-8813-0FF6DF0BC1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343654"/>
            <a:ext cx="6498721" cy="206381"/>
          </a:xfrm>
        </p:spPr>
        <p:txBody>
          <a:bodyPr/>
          <a:lstStyle/>
          <a:p>
            <a:r>
              <a:rPr lang="en-US" altLang="zh-CN" dirty="0" err="1"/>
              <a:t>Ziyu</a:t>
            </a:r>
            <a:r>
              <a:rPr lang="en-US" altLang="zh-CN" dirty="0"/>
              <a:t> Wang et al. Dueling network architectures for deep reinforcement learning. ICML 2016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9433014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4259D628-9A4D-46F7-8149-CFD2C945B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17317136-5153-40AF-80E5-07E174E8A7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050" y="2"/>
            <a:ext cx="7859316" cy="1028699"/>
          </a:xfrm>
        </p:spPr>
        <p:txBody>
          <a:bodyPr/>
          <a:lstStyle/>
          <a:p>
            <a:r>
              <a:rPr lang="zh-CN" altLang="en-US" dirty="0"/>
              <a:t>探索任务：走廊环境</a:t>
            </a:r>
          </a:p>
        </p:txBody>
      </p:sp>
      <p:sp>
        <p:nvSpPr>
          <p:cNvPr id="5" name="内容占位符 2 1">
            <a:extLst>
              <a:ext uri="{FF2B5EF4-FFF2-40B4-BE49-F238E27FC236}">
                <a16:creationId xmlns:a16="http://schemas.microsoft.com/office/drawing/2014/main" id="{7ACA0C4D-A395-4C2F-A48C-B1DD33523AA4}"/>
              </a:ext>
            </a:extLst>
          </p:cNvPr>
          <p:cNvSpPr txBox="1">
            <a:spLocks/>
          </p:cNvSpPr>
          <p:nvPr/>
        </p:nvSpPr>
        <p:spPr>
          <a:xfrm>
            <a:off x="654842" y="1280321"/>
            <a:ext cx="4526758" cy="22865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走廊环境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*为起点状态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行动：上、下、左、右、不动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左下角有小的正向奖励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右上角有大的正向奖励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Q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函数评估均方误差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45A0B94-83F9-4F03-BAE7-365389D44D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8799" y="1280323"/>
            <a:ext cx="3001565" cy="226541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EB3A7C09-44AF-4B8F-ABD6-23A01D0AF7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050" y="3603162"/>
            <a:ext cx="7241382" cy="2286578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060D2481-91E4-4D45-B2B9-5D1B6B74653F}"/>
              </a:ext>
            </a:extLst>
          </p:cNvPr>
          <p:cNvSpPr txBox="1"/>
          <p:nvPr/>
        </p:nvSpPr>
        <p:spPr>
          <a:xfrm>
            <a:off x="3753853" y="3332747"/>
            <a:ext cx="17235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/>
              <a:t>更多的行动是‘不动’</a:t>
            </a:r>
          </a:p>
        </p:txBody>
      </p:sp>
      <p:sp>
        <p:nvSpPr>
          <p:cNvPr id="9" name="页脚占位符 2">
            <a:extLst>
              <a:ext uri="{FF2B5EF4-FFF2-40B4-BE49-F238E27FC236}">
                <a16:creationId xmlns:a16="http://schemas.microsoft.com/office/drawing/2014/main" id="{8AC9D72A-5844-E750-B2D3-A442228E02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343654"/>
            <a:ext cx="6498721" cy="206381"/>
          </a:xfrm>
        </p:spPr>
        <p:txBody>
          <a:bodyPr/>
          <a:lstStyle/>
          <a:p>
            <a:r>
              <a:rPr lang="en-US" altLang="zh-CN" dirty="0" err="1"/>
              <a:t>Ziyu</a:t>
            </a:r>
            <a:r>
              <a:rPr lang="en-US" altLang="zh-CN" dirty="0"/>
              <a:t> Wang et al. Dueling network architectures for deep reinforcement learning. ICML 2016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7599384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/>
              <a:t>在 </a:t>
            </a:r>
            <a:r>
              <a:rPr lang="en-US" altLang="zh-CN"/>
              <a:t>Atari </a:t>
            </a:r>
            <a:r>
              <a:rPr lang="zh-CN" altLang="en-US"/>
              <a:t>环境中的实验结果</a:t>
            </a:r>
            <a:r>
              <a:rPr lang="en-US" altLang="zh-CN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I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3</a:t>
            </a:fld>
            <a:endParaRPr lang="zh-CN" alt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49388F7-ADD5-4F85-AE5A-C57074E85D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2443" y="1153693"/>
            <a:ext cx="5009487" cy="496177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01AFB96-268C-48B6-BBCF-2BCFFC4BBA76}"/>
              </a:ext>
            </a:extLst>
          </p:cNvPr>
          <p:cNvSpPr txBox="1"/>
          <p:nvPr/>
        </p:nvSpPr>
        <p:spPr>
          <a:xfrm>
            <a:off x="5355942" y="3080584"/>
            <a:ext cx="29113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ueling DQN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与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QN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比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3E9AE09D-4FE4-404B-9657-EDB1C26A1071}"/>
                  </a:ext>
                </a:extLst>
              </p:cNvPr>
              <p:cNvSpPr txBox="1"/>
              <p:nvPr/>
            </p:nvSpPr>
            <p:spPr>
              <a:xfrm>
                <a:off x="3634207" y="4398602"/>
                <a:ext cx="2232983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altLang="zh-CN" sz="1600" b="0" i="0" smtClean="0">
                          <a:latin typeface="Cambria Math" panose="02040503050406030204" pitchFamily="18" charset="0"/>
                        </a:rPr>
                        <m:t>normalized</m:t>
                      </m:r>
                      <m:r>
                        <a:rPr lang="en-US" altLang="zh-CN" sz="1600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altLang="zh-CN" sz="1600" b="0" i="0" smtClean="0">
                          <a:latin typeface="Cambria Math" panose="02040503050406030204" pitchFamily="18" charset="0"/>
                        </a:rPr>
                        <m:t>performance</m:t>
                      </m:r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3E9AE09D-4FE4-404B-9657-EDB1C26A10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34207" y="4398602"/>
                <a:ext cx="2232983" cy="246221"/>
              </a:xfrm>
              <a:prstGeom prst="rect">
                <a:avLst/>
              </a:prstGeom>
              <a:blipFill>
                <a:blip r:embed="rId6"/>
                <a:stretch>
                  <a:fillRect l="-1639" r="-2459" b="-3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2C726ECD-C969-4460-963D-FFDD1C650457}"/>
                  </a:ext>
                </a:extLst>
              </p:cNvPr>
              <p:cNvSpPr txBox="1"/>
              <p:nvPr/>
            </p:nvSpPr>
            <p:spPr>
              <a:xfrm>
                <a:off x="3634207" y="4770315"/>
                <a:ext cx="5215787" cy="51193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6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altLang="zh-CN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agent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i="0">
                              <a:latin typeface="Cambria Math" panose="02040503050406030204" pitchFamily="18" charset="0"/>
                            </a:rPr>
                            <m:t>sc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ore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−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baseline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score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en-US" altLang="zh-CN" sz="1600" i="1">
                              <a:latin typeface="Cambria Math" panose="02040503050406030204" pitchFamily="18" charset="0"/>
                            </a:rPr>
                            <m:t>ma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x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{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human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score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baseline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score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} −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random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play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score</m:t>
                          </m:r>
                        </m:den>
                      </m:f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2C726ECD-C969-4460-963D-FFDD1C65045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34207" y="4770315"/>
                <a:ext cx="5215787" cy="511935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页脚占位符 2">
            <a:extLst>
              <a:ext uri="{FF2B5EF4-FFF2-40B4-BE49-F238E27FC236}">
                <a16:creationId xmlns:a16="http://schemas.microsoft.com/office/drawing/2014/main" id="{1FEB0B08-91CE-8ADA-6299-7D8E55852B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343654"/>
            <a:ext cx="6498721" cy="206381"/>
          </a:xfrm>
        </p:spPr>
        <p:txBody>
          <a:bodyPr/>
          <a:lstStyle/>
          <a:p>
            <a:r>
              <a:rPr lang="en-US" altLang="zh-CN" dirty="0" err="1"/>
              <a:t>Ziyu</a:t>
            </a:r>
            <a:r>
              <a:rPr lang="en-US" altLang="zh-CN" dirty="0"/>
              <a:t> Wang et al. Dueling network architectures for deep reinforcement learning. ICML 2016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8468080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/>
              <a:t>在 </a:t>
            </a:r>
            <a:r>
              <a:rPr lang="en-US" altLang="zh-CN"/>
              <a:t>Atari </a:t>
            </a:r>
            <a:r>
              <a:rPr lang="zh-CN" altLang="en-US"/>
              <a:t>环境中的实验结果</a:t>
            </a:r>
            <a:r>
              <a:rPr lang="en-US" altLang="zh-CN"/>
              <a:t>II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4</a:t>
            </a:fld>
            <a:endParaRPr lang="zh-CN" alt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12F5359-21F9-4C81-A7B9-5E4B66420C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2443" y="1088902"/>
            <a:ext cx="5188909" cy="501054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54304D9-652D-40B3-91DF-3B5761E68F2D}"/>
              </a:ext>
            </a:extLst>
          </p:cNvPr>
          <p:cNvSpPr txBox="1"/>
          <p:nvPr/>
        </p:nvSpPr>
        <p:spPr>
          <a:xfrm>
            <a:off x="5280052" y="3136612"/>
            <a:ext cx="31577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ueling DQN</a:t>
            </a: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与</a:t>
            </a:r>
            <a:endParaRPr lang="en-US" altLang="zh-CN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en-US" altLang="zh-CN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rioritized Double DQN</a:t>
            </a: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比</a:t>
            </a:r>
            <a:endParaRPr lang="en-US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DD4BF7A1-2290-4EDC-AC96-D7FCF8D8A4E4}"/>
                  </a:ext>
                </a:extLst>
              </p:cNvPr>
              <p:cNvSpPr txBox="1"/>
              <p:nvPr/>
            </p:nvSpPr>
            <p:spPr>
              <a:xfrm>
                <a:off x="3634207" y="4398602"/>
                <a:ext cx="2232983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altLang="zh-CN" sz="1600" b="0" i="0" smtClean="0">
                          <a:latin typeface="Cambria Math" panose="02040503050406030204" pitchFamily="18" charset="0"/>
                        </a:rPr>
                        <m:t>normalized</m:t>
                      </m:r>
                      <m:r>
                        <a:rPr lang="en-US" altLang="zh-CN" sz="1600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altLang="zh-CN" sz="1600" b="0" i="0" smtClean="0">
                          <a:latin typeface="Cambria Math" panose="02040503050406030204" pitchFamily="18" charset="0"/>
                        </a:rPr>
                        <m:t>performance</m:t>
                      </m:r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DD4BF7A1-2290-4EDC-AC96-D7FCF8D8A4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34207" y="4398602"/>
                <a:ext cx="2232983" cy="246221"/>
              </a:xfrm>
              <a:prstGeom prst="rect">
                <a:avLst/>
              </a:prstGeom>
              <a:blipFill>
                <a:blip r:embed="rId6"/>
                <a:stretch>
                  <a:fillRect l="-1639" r="-2459" b="-3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9CE855CC-54C7-43EB-A9CD-A8BA776ED734}"/>
                  </a:ext>
                </a:extLst>
              </p:cNvPr>
              <p:cNvSpPr txBox="1"/>
              <p:nvPr/>
            </p:nvSpPr>
            <p:spPr>
              <a:xfrm>
                <a:off x="3634207" y="4770315"/>
                <a:ext cx="5215787" cy="51193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6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altLang="zh-CN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agent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i="0">
                              <a:latin typeface="Cambria Math" panose="02040503050406030204" pitchFamily="18" charset="0"/>
                            </a:rPr>
                            <m:t>sc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ore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−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baseline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score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en-US" altLang="zh-CN" sz="1600" i="1">
                              <a:latin typeface="Cambria Math" panose="02040503050406030204" pitchFamily="18" charset="0"/>
                            </a:rPr>
                            <m:t>ma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x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{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human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score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baseline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score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} −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random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play</m:t>
                          </m:r>
                          <m: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sz="1600" b="0" i="0" smtClean="0">
                              <a:latin typeface="Cambria Math" panose="02040503050406030204" pitchFamily="18" charset="0"/>
                            </a:rPr>
                            <m:t>score</m:t>
                          </m:r>
                        </m:den>
                      </m:f>
                    </m:oMath>
                  </m:oMathPara>
                </a14:m>
                <a:endParaRPr lang="zh-CN" altLang="en-US" sz="1600" dirty="0"/>
              </a:p>
            </p:txBody>
          </p:sp>
        </mc:Choice>
        <mc:Fallback xmlns="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9CE855CC-54C7-43EB-A9CD-A8BA776ED7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34207" y="4770315"/>
                <a:ext cx="5215787" cy="511935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页脚占位符 2">
            <a:extLst>
              <a:ext uri="{FF2B5EF4-FFF2-40B4-BE49-F238E27FC236}">
                <a16:creationId xmlns:a16="http://schemas.microsoft.com/office/drawing/2014/main" id="{892D17F9-2DE3-C87F-8B90-3CE7AD891D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343654"/>
            <a:ext cx="6498721" cy="206381"/>
          </a:xfrm>
        </p:spPr>
        <p:txBody>
          <a:bodyPr/>
          <a:lstStyle/>
          <a:p>
            <a:r>
              <a:rPr lang="en-US" altLang="zh-CN" dirty="0" err="1"/>
              <a:t>Ziyu</a:t>
            </a:r>
            <a:r>
              <a:rPr lang="en-US" altLang="zh-CN" dirty="0"/>
              <a:t> Wang et al. Dueling network architectures for deep reinforcement learning. ICML 2016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6252661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复习之前的深度强化学习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5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3636" y="1271823"/>
                <a:ext cx="8136730" cy="92333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600"/>
                  </a:spcAft>
                </a:pPr>
                <a:r>
                  <a:rPr lang="en-US" altLang="zh-CN" sz="1800" dirty="0"/>
                  <a:t>DQN</a:t>
                </a:r>
                <a:r>
                  <a:rPr lang="zh-CN" altLang="en-US" sz="1800" dirty="0"/>
                  <a:t>：一次输入多个行动</a:t>
                </a:r>
                <a:r>
                  <a:rPr lang="en-US" altLang="zh-CN" sz="1800" dirty="0"/>
                  <a:t>Q</a:t>
                </a:r>
                <a:r>
                  <a:rPr lang="zh-CN" altLang="en-US" sz="1800" dirty="0"/>
                  <a:t>值输出、目标网络、随机采样经验</a:t>
                </a:r>
                <a:endParaRPr lang="en-US" altLang="zh-CN" sz="1800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𝑦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𝑟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𝛾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b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1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func>
                        <m:func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arg</m:t>
                          </m:r>
                        </m:fName>
                        <m:e>
                          <m:func>
                            <m:func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limLow>
                                <m:limLow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limLow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max</m:t>
                                  </m:r>
                                </m:e>
                                <m:lim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lim>
                              </m:limLow>
                            </m:fName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b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+1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))</m:t>
                              </m:r>
                            </m:e>
                          </m:func>
                        </m:e>
                      </m:func>
                    </m:oMath>
                  </m:oMathPara>
                </a14:m>
                <a:endParaRPr lang="en-US" altLang="zh-CN" sz="1800" dirty="0"/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636" y="1271823"/>
                <a:ext cx="8136730" cy="923330"/>
              </a:xfrm>
              <a:prstGeom prst="rect">
                <a:avLst/>
              </a:prstGeom>
              <a:blipFill>
                <a:blip r:embed="rId4"/>
                <a:stretch>
                  <a:fillRect l="-300" t="-397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矩形 2">
            <a:extLst>
              <a:ext uri="{FF2B5EF4-FFF2-40B4-BE49-F238E27FC236}">
                <a16:creationId xmlns:a16="http://schemas.microsoft.com/office/drawing/2014/main" id="{F8196072-C38F-4EFF-8F89-B3DF6D7A9F67}"/>
              </a:ext>
            </a:extLst>
          </p:cNvPr>
          <p:cNvSpPr/>
          <p:nvPr/>
        </p:nvSpPr>
        <p:spPr>
          <a:xfrm>
            <a:off x="765627" y="2164020"/>
            <a:ext cx="774919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/>
              <a:t>“Human-Level Control Through Deep Reinforcement Learning”, </a:t>
            </a:r>
            <a:r>
              <a:rPr lang="en-US" altLang="zh-CN" sz="1200" dirty="0" err="1"/>
              <a:t>Mnih</a:t>
            </a:r>
            <a:r>
              <a:rPr lang="en-US" altLang="zh-CN" sz="1200" dirty="0"/>
              <a:t>, </a:t>
            </a:r>
            <a:r>
              <a:rPr lang="en-US" altLang="zh-CN" sz="1200" dirty="0" err="1"/>
              <a:t>Kavukcuoglu</a:t>
            </a:r>
            <a:r>
              <a:rPr lang="en-US" altLang="zh-CN" sz="1200" dirty="0"/>
              <a:t>, Silver et al. Nature 2015.</a:t>
            </a:r>
            <a:endParaRPr lang="zh-CN" altLang="en-US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内容占位符 2">
                <a:extLst>
                  <a:ext uri="{FF2B5EF4-FFF2-40B4-BE49-F238E27FC236}">
                    <a16:creationId xmlns:a16="http://schemas.microsoft.com/office/drawing/2014/main" id="{82181B11-AE7B-406D-941B-6FFD450741A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3636" y="3001412"/>
                <a:ext cx="8136730" cy="92333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600"/>
                  </a:spcAft>
                </a:pPr>
                <a:r>
                  <a:rPr lang="en-US" altLang="zh-CN" sz="1800" dirty="0"/>
                  <a:t>Double DQN</a:t>
                </a:r>
                <a:r>
                  <a:rPr lang="zh-CN" altLang="en-US" sz="1800" dirty="0"/>
                  <a:t>：解耦合行动选择和价值估计、解决</a:t>
                </a:r>
                <a:r>
                  <a:rPr lang="en-US" altLang="zh-CN" sz="1800" dirty="0"/>
                  <a:t>DQN</a:t>
                </a:r>
                <a:r>
                  <a:rPr lang="zh-CN" altLang="en-US" sz="1800" dirty="0"/>
                  <a:t>过高估计问题</a:t>
                </a:r>
                <a:endParaRPr lang="en-US" altLang="zh-CN" sz="1800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𝑦</m:t>
                          </m:r>
                        </m:e>
                        <m:sub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𝑟</m:t>
                          </m:r>
                        </m:e>
                        <m:sub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𝛾</m:t>
                      </m:r>
                      <m:sSub>
                        <m:sSub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b>
                          <m:sSup>
                            <m:sSup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</m:sub>
                      </m:sSub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sSub>
                        <m:sSub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1</m:t>
                          </m:r>
                        </m:sub>
                      </m:sSub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func>
                        <m:func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 sz="180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arg</m:t>
                          </m:r>
                        </m:fName>
                        <m:e>
                          <m:func>
                            <m:func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limLow>
                                <m:limLow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limLow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sz="180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max</m:t>
                                  </m:r>
                                </m:e>
                                <m:lim>
                                  <m:sSup>
                                    <m:sSupPr>
                                      <m:ctrlP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p>
                                      <m:r>
                                        <a:rPr lang="en-US" altLang="zh-CN" sz="18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lim>
                              </m:limLow>
                            </m:fName>
                            <m:e>
                              <m:sSub>
                                <m:sSub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+1</m:t>
                                  </m:r>
                                </m:sub>
                              </m:sSub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))</m:t>
                              </m:r>
                            </m:e>
                          </m:func>
                        </m:e>
                      </m:func>
                    </m:oMath>
                  </m:oMathPara>
                </a14:m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spcAft>
                    <a:spcPts val="600"/>
                  </a:spcAft>
                </a:pPr>
                <a:endParaRPr lang="en-US" altLang="zh-CN" sz="1800" dirty="0"/>
              </a:p>
            </p:txBody>
          </p:sp>
        </mc:Choice>
        <mc:Fallback xmlns="">
          <p:sp>
            <p:nvSpPr>
              <p:cNvPr id="7" name="内容占位符 2">
                <a:extLst>
                  <a:ext uri="{FF2B5EF4-FFF2-40B4-BE49-F238E27FC236}">
                    <a16:creationId xmlns:a16="http://schemas.microsoft.com/office/drawing/2014/main" id="{82181B11-AE7B-406D-941B-6FFD450741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636" y="3001412"/>
                <a:ext cx="8136730" cy="923330"/>
              </a:xfrm>
              <a:prstGeom prst="rect">
                <a:avLst/>
              </a:prstGeom>
              <a:blipFill>
                <a:blip r:embed="rId6"/>
                <a:stretch>
                  <a:fillRect l="-300" t="-328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BF60281E-2E1E-4B26-91F7-F015B2F448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3636" y="4737543"/>
                <a:ext cx="8136730" cy="92333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92500" lnSpcReduction="1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600"/>
                  </a:spcAft>
                </a:pPr>
                <a:r>
                  <a:rPr lang="en-US" altLang="zh-CN" sz="1800" dirty="0"/>
                  <a:t>Dueling DQN</a:t>
                </a:r>
                <a:r>
                  <a:rPr lang="zh-CN" altLang="en-US" sz="1800" dirty="0"/>
                  <a:t>：精细捕捉价值和行动的细微关联、多种</a:t>
                </a:r>
                <a:r>
                  <a:rPr lang="en-US" altLang="zh-CN" sz="1800" dirty="0"/>
                  <a:t>advantage</a:t>
                </a:r>
                <a:r>
                  <a:rPr lang="zh-CN" altLang="en-US" sz="1800" dirty="0"/>
                  <a:t>函数建模</a:t>
                </a:r>
                <a:endParaRPr lang="en-US" altLang="zh-CN" sz="1800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𝑄</m:t>
                      </m:r>
                      <m:d>
                        <m:d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;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𝛼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𝛽</m:t>
                          </m:r>
                        </m:e>
                      </m:d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;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𝛽</m:t>
                          </m:r>
                        </m:e>
                      </m:d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𝐴</m:t>
                      </m:r>
                      <m:d>
                        <m:d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;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𝛼</m:t>
                          </m:r>
                        </m:e>
                      </m:d>
                      <m:r>
                        <a:rPr lang="en-US" altLang="zh-CN" sz="1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func>
                        <m:funcPr>
                          <m:ctrlP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f>
                            <m:fPr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</m:t>
                              </m:r>
                            </m:num>
                            <m:den>
                              <m:d>
                                <m:dPr>
                                  <m:begChr m:val="|"/>
                                  <m:endChr m:val="|"/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𝐴</m:t>
                                  </m:r>
                                </m:e>
                              </m:d>
                            </m:den>
                          </m:f>
                          <m:nary>
                            <m:naryPr>
                              <m:chr m:val="∑"/>
                              <m:limLoc m:val="subSup"/>
                              <m:supHide m:val="on"/>
                              <m:ctrlP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m:rPr>
                                      <m:brk m:alnAt="9"/>
                                    </m:r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  <m:sup/>
                            <m:e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𝐴</m:t>
                              </m:r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sz="18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;</m:t>
                              </m:r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sz="18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𝛼</m:t>
                              </m:r>
                            </m:e>
                          </m:nary>
                        </m:fName>
                        <m:e>
                          <m:r>
                            <a:rPr lang="en-US" altLang="zh-CN" sz="18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e>
                      </m:func>
                    </m:oMath>
                  </m:oMathPara>
                </a14:m>
                <a:endParaRPr lang="en-US" altLang="zh-CN" sz="1800" dirty="0"/>
              </a:p>
            </p:txBody>
          </p:sp>
        </mc:Choice>
        <mc:Fallback xmlns="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BF60281E-2E1E-4B26-91F7-F015B2F448C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636" y="4737543"/>
                <a:ext cx="8136730" cy="923330"/>
              </a:xfrm>
              <a:prstGeom prst="rect">
                <a:avLst/>
              </a:prstGeom>
              <a:blipFill>
                <a:blip r:embed="rId7"/>
                <a:stretch>
                  <a:fillRect l="-225" t="-460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矩形 8">
            <a:extLst>
              <a:ext uri="{FF2B5EF4-FFF2-40B4-BE49-F238E27FC236}">
                <a16:creationId xmlns:a16="http://schemas.microsoft.com/office/drawing/2014/main" id="{F80471B5-2C1B-41D0-AF50-A43915AA2A10}"/>
              </a:ext>
            </a:extLst>
          </p:cNvPr>
          <p:cNvSpPr/>
          <p:nvPr/>
        </p:nvSpPr>
        <p:spPr>
          <a:xfrm>
            <a:off x="765627" y="3913954"/>
            <a:ext cx="774919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/>
              <a:t>“Double Reinforcement Learning with Double Q-Learning”, van Hasselt et al. AAAI 2016.</a:t>
            </a:r>
            <a:endParaRPr lang="zh-CN" altLang="en-US" sz="1200" dirty="0"/>
          </a:p>
        </p:txBody>
      </p:sp>
      <p:sp>
        <p:nvSpPr>
          <p:cNvPr id="12" name="页脚占位符 2">
            <a:extLst>
              <a:ext uri="{FF2B5EF4-FFF2-40B4-BE49-F238E27FC236}">
                <a16:creationId xmlns:a16="http://schemas.microsoft.com/office/drawing/2014/main" id="{5515ED88-A516-83CE-E042-8B15112B66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343654"/>
            <a:ext cx="6498721" cy="206381"/>
          </a:xfrm>
        </p:spPr>
        <p:txBody>
          <a:bodyPr/>
          <a:lstStyle/>
          <a:p>
            <a:r>
              <a:rPr lang="en-US" altLang="zh-CN" dirty="0" err="1"/>
              <a:t>Ziyu</a:t>
            </a:r>
            <a:r>
              <a:rPr lang="en-US" altLang="zh-CN" dirty="0"/>
              <a:t> Wang et al. Dueling network architectures for deep reinforcement learning. ICML 2016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5748952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F17D0E4A-30C3-40E3-AE8E-84E401C43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345744"/>
            <a:ext cx="5856412" cy="206381"/>
          </a:xfrm>
        </p:spPr>
        <p:txBody>
          <a:bodyPr/>
          <a:lstStyle/>
          <a:p>
            <a:r>
              <a:rPr lang="en-US" altLang="zh-CN" dirty="0"/>
              <a:t>Hessel et al. Rainbow: Combining Improvements in Deep Reinforcement Learning. AAAI 2018.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9F2D571-9CA1-4363-A62E-BA0A5149D2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6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36AD3A63-4AF0-4D26-9025-100944FE7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452" y="2"/>
            <a:ext cx="7918913" cy="1028699"/>
          </a:xfrm>
        </p:spPr>
        <p:txBody>
          <a:bodyPr/>
          <a:lstStyle/>
          <a:p>
            <a:r>
              <a:rPr lang="en-US" altLang="zh-CN" dirty="0"/>
              <a:t>Rainbow: </a:t>
            </a:r>
            <a:r>
              <a:rPr lang="zh-CN" altLang="en-US" dirty="0"/>
              <a:t>结合众多</a:t>
            </a:r>
            <a:r>
              <a:rPr lang="en-US" altLang="zh-CN" dirty="0"/>
              <a:t>Value-based DRL</a:t>
            </a:r>
            <a:r>
              <a:rPr lang="zh-CN" altLang="en-US" dirty="0"/>
              <a:t>方法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1F886CF3-8F3F-45D9-B02B-B676DA7482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9213" y="1119344"/>
            <a:ext cx="5551095" cy="5121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46597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7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464" y="361507"/>
            <a:ext cx="7870345" cy="679131"/>
          </a:xfrm>
        </p:spPr>
        <p:txBody>
          <a:bodyPr/>
          <a:lstStyle/>
          <a:p>
            <a:r>
              <a:rPr lang="zh-CN" altLang="en-US" dirty="0"/>
              <a:t>深度强化学习总结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83515A53-D28B-4149-8676-420D29BF58A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2444" y="3638967"/>
            <a:ext cx="8137922" cy="2807878"/>
          </a:xfrm>
        </p:spPr>
        <p:txBody>
          <a:bodyPr>
            <a:normAutofit/>
          </a:bodyPr>
          <a:lstStyle/>
          <a:p>
            <a:r>
              <a:rPr lang="zh-CN" altLang="en-US" dirty="0"/>
              <a:t>直面理解：深度学习</a:t>
            </a:r>
            <a:r>
              <a:rPr lang="en-US" altLang="zh-CN" dirty="0"/>
              <a:t>+</a:t>
            </a:r>
            <a:r>
              <a:rPr lang="zh-CN" altLang="en-US" dirty="0"/>
              <a:t>强化学习</a:t>
            </a:r>
            <a:endParaRPr lang="en-US" altLang="zh-CN" dirty="0"/>
          </a:p>
          <a:p>
            <a:r>
              <a:rPr lang="zh-CN" altLang="en-US" dirty="0"/>
              <a:t>深度强化学习使强化学习算法能够以端到端的方式解决复杂问题</a:t>
            </a:r>
          </a:p>
          <a:p>
            <a:r>
              <a:rPr lang="zh-CN" altLang="en-US" dirty="0"/>
              <a:t>真正让强化学习有能力完成实际决策任务</a:t>
            </a:r>
            <a:endParaRPr lang="en-US" altLang="zh-CN" dirty="0"/>
          </a:p>
          <a:p>
            <a:r>
              <a:rPr lang="zh-CN" altLang="en-US" dirty="0"/>
              <a:t>比强化学习和深度学习各自都更加难以驯化</a:t>
            </a:r>
            <a:endParaRPr lang="en-US" altLang="zh-CN" dirty="0"/>
          </a:p>
          <a:p>
            <a:r>
              <a:rPr lang="zh-CN" altLang="en-US" dirty="0"/>
              <a:t>基于价值函数的深度强化学习</a:t>
            </a:r>
            <a:endParaRPr lang="en-US" altLang="zh-CN" dirty="0"/>
          </a:p>
          <a:p>
            <a:pPr lvl="1"/>
            <a:r>
              <a:rPr lang="en-US" altLang="zh-CN" dirty="0"/>
              <a:t>DQN</a:t>
            </a:r>
            <a:r>
              <a:rPr lang="zh-CN" altLang="en-US" dirty="0"/>
              <a:t>：一次输入多个行动</a:t>
            </a:r>
            <a:r>
              <a:rPr lang="en-US" altLang="zh-CN" dirty="0"/>
              <a:t>Q</a:t>
            </a:r>
            <a:r>
              <a:rPr lang="zh-CN" altLang="en-US" dirty="0"/>
              <a:t>值输出、目标网络、随机采样经验</a:t>
            </a:r>
            <a:endParaRPr lang="en-US" altLang="zh-CN" dirty="0"/>
          </a:p>
          <a:p>
            <a:pPr lvl="1"/>
            <a:r>
              <a:rPr lang="en-US" altLang="zh-CN" dirty="0"/>
              <a:t>Double DQN</a:t>
            </a:r>
            <a:r>
              <a:rPr lang="zh-CN" altLang="en-US" dirty="0"/>
              <a:t>：解耦合行动选择和价值估计、解决</a:t>
            </a:r>
            <a:r>
              <a:rPr lang="en-US" altLang="zh-CN" dirty="0"/>
              <a:t>DQN</a:t>
            </a:r>
            <a:r>
              <a:rPr lang="zh-CN" altLang="en-US" dirty="0"/>
              <a:t>过高估计问题</a:t>
            </a:r>
            <a:endParaRPr lang="en-US" altLang="zh-CN" dirty="0"/>
          </a:p>
          <a:p>
            <a:pPr lvl="1"/>
            <a:r>
              <a:rPr lang="en-US" altLang="zh-CN" dirty="0"/>
              <a:t>Dueling DQN</a:t>
            </a:r>
            <a:r>
              <a:rPr lang="zh-CN" altLang="en-US" dirty="0"/>
              <a:t>：精细捕捉价值和行动的细微关联、多种</a:t>
            </a:r>
            <a:r>
              <a:rPr lang="en-US" altLang="zh-CN" dirty="0"/>
              <a:t>advantage</a:t>
            </a:r>
            <a:r>
              <a:rPr lang="zh-CN" altLang="en-US" dirty="0"/>
              <a:t>函数建模</a:t>
            </a:r>
          </a:p>
        </p:txBody>
      </p:sp>
      <p:pic>
        <p:nvPicPr>
          <p:cNvPr id="15" name="内容占位符 3">
            <a:extLst>
              <a:ext uri="{FF2B5EF4-FFF2-40B4-BE49-F238E27FC236}">
                <a16:creationId xmlns:a16="http://schemas.microsoft.com/office/drawing/2014/main" id="{6CAEAC95-F6C0-4401-979C-7E22678289B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9382"/>
          <a:stretch/>
        </p:blipFill>
        <p:spPr>
          <a:xfrm>
            <a:off x="1984808" y="1095375"/>
            <a:ext cx="6834852" cy="2342356"/>
          </a:xfrm>
          <a:prstGeom prst="rect">
            <a:avLst/>
          </a:prstGeom>
        </p:spPr>
      </p:pic>
      <p:sp>
        <p:nvSpPr>
          <p:cNvPr id="16" name="TextBox 7">
            <a:extLst>
              <a:ext uri="{FF2B5EF4-FFF2-40B4-BE49-F238E27FC236}">
                <a16:creationId xmlns:a16="http://schemas.microsoft.com/office/drawing/2014/main" id="{81132A43-89CD-4EFB-B54E-BE26CFBD1CBF}"/>
              </a:ext>
            </a:extLst>
          </p:cNvPr>
          <p:cNvSpPr txBox="1"/>
          <p:nvPr/>
        </p:nvSpPr>
        <p:spPr>
          <a:xfrm>
            <a:off x="466448" y="1512288"/>
            <a:ext cx="15696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/>
              <a:t>标准（传统）</a:t>
            </a:r>
            <a:endParaRPr lang="en-US" altLang="zh-CN" dirty="0"/>
          </a:p>
          <a:p>
            <a:pPr algn="ctr"/>
            <a:r>
              <a:rPr lang="zh-CN" altLang="en-US" dirty="0"/>
              <a:t>强化学习</a:t>
            </a:r>
          </a:p>
        </p:txBody>
      </p:sp>
      <p:sp>
        <p:nvSpPr>
          <p:cNvPr id="17" name="TextBox 8">
            <a:extLst>
              <a:ext uri="{FF2B5EF4-FFF2-40B4-BE49-F238E27FC236}">
                <a16:creationId xmlns:a16="http://schemas.microsoft.com/office/drawing/2014/main" id="{25AFC122-16E9-4618-AA49-69D1F46F0005}"/>
              </a:ext>
            </a:extLst>
          </p:cNvPr>
          <p:cNvSpPr txBox="1"/>
          <p:nvPr/>
        </p:nvSpPr>
        <p:spPr>
          <a:xfrm>
            <a:off x="404638" y="2714127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/>
              <a:t>深度强化学习</a:t>
            </a:r>
          </a:p>
        </p:txBody>
      </p:sp>
    </p:spTree>
    <p:extLst>
      <p:ext uri="{BB962C8B-B14F-4D97-AF65-F5344CB8AC3E}">
        <p14:creationId xmlns:p14="http://schemas.microsoft.com/office/powerpoint/2010/main" val="263722063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6820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475200"/>
            <a:ext cx="8137922" cy="553500"/>
          </a:xfrm>
        </p:spPr>
        <p:txBody>
          <a:bodyPr/>
          <a:lstStyle/>
          <a:p>
            <a:r>
              <a:rPr lang="zh-CN" altLang="en-US" dirty="0"/>
              <a:t>课程大纲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7ABE3"/>
              </a:solidFill>
              <a:effectLst/>
              <a:uLnTx/>
              <a:uFillTx/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C4296DFD-E508-42FA-958A-3E7E11E25FD0}"/>
              </a:ext>
            </a:extLst>
          </p:cNvPr>
          <p:cNvSpPr/>
          <p:nvPr/>
        </p:nvSpPr>
        <p:spPr>
          <a:xfrm>
            <a:off x="4574342" y="1375401"/>
            <a:ext cx="4107305" cy="44716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阿里巴巴普惠体 R" panose="00020600040101010101"/>
              <a:cs typeface="+mn-cs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1524147-056F-43D7-83E9-6329A912AA9F}"/>
              </a:ext>
            </a:extLst>
          </p:cNvPr>
          <p:cNvSpPr/>
          <p:nvPr/>
        </p:nvSpPr>
        <p:spPr>
          <a:xfrm>
            <a:off x="389744" y="1375401"/>
            <a:ext cx="4107305" cy="44716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阿里巴巴普惠体 R" panose="00020600040101010101"/>
              <a:cs typeface="+mn-cs"/>
            </a:endParaRPr>
          </a:p>
        </p:txBody>
      </p:sp>
      <p:sp>
        <p:nvSpPr>
          <p:cNvPr id="13" name="内容占位符 3">
            <a:extLst>
              <a:ext uri="{FF2B5EF4-FFF2-40B4-BE49-F238E27FC236}">
                <a16:creationId xmlns:a16="http://schemas.microsoft.com/office/drawing/2014/main" id="{35F314D7-0FDD-4D89-AF44-585DD2B76D8D}"/>
              </a:ext>
            </a:extLst>
          </p:cNvPr>
          <p:cNvSpPr txBox="1">
            <a:spLocks/>
          </p:cNvSpPr>
          <p:nvPr/>
        </p:nvSpPr>
        <p:spPr>
          <a:xfrm>
            <a:off x="550129" y="2161303"/>
            <a:ext cx="3886200" cy="3833293"/>
          </a:xfrm>
          <a:prstGeom prst="rect">
            <a:avLst/>
          </a:prstGeom>
        </p:spPr>
        <p:txBody>
          <a:bodyPr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强化学习、探索与利用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MDP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和动态规划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值函数估计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无模型控制方法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规划与学习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参数化的值函数和策略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FF0000"/>
                </a:solidFill>
                <a:ea typeface="阿里巴巴普惠体 R" panose="00020600040101010101"/>
              </a:rPr>
              <a:t>深度强化学习价值方法</a:t>
            </a:r>
            <a:endParaRPr lang="en-US" sz="2400" dirty="0">
              <a:solidFill>
                <a:srgbClr val="FF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深度强化学习策略方法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</p:txBody>
      </p:sp>
      <p:sp>
        <p:nvSpPr>
          <p:cNvPr id="14" name="内容占位符 4">
            <a:extLst>
              <a:ext uri="{FF2B5EF4-FFF2-40B4-BE49-F238E27FC236}">
                <a16:creationId xmlns:a16="http://schemas.microsoft.com/office/drawing/2014/main" id="{6D3298F2-5082-4464-B494-69D8F2C400B7}"/>
              </a:ext>
            </a:extLst>
          </p:cNvPr>
          <p:cNvSpPr txBox="1">
            <a:spLocks/>
          </p:cNvSpPr>
          <p:nvPr/>
        </p:nvSpPr>
        <p:spPr>
          <a:xfrm>
            <a:off x="4629150" y="2161303"/>
            <a:ext cx="4190510" cy="3893253"/>
          </a:xfrm>
          <a:prstGeom prst="rect">
            <a:avLst/>
          </a:prstGeom>
        </p:spPr>
        <p:txBody>
          <a:bodyPr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dirty="0">
                <a:solidFill>
                  <a:srgbClr val="000000"/>
                </a:solidFill>
                <a:ea typeface="阿里巴巴普惠体 R" panose="00020600040101010101"/>
              </a:rPr>
              <a:t>  9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基于模型的深度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0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模仿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indent="0">
              <a:buNone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1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离线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2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参数化动作空间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3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目标导向的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4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多智能体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5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强化学习大模型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6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技术交流与回顾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7922843E-8B2C-474B-B4E6-1BF440AA651B}"/>
              </a:ext>
            </a:extLst>
          </p:cNvPr>
          <p:cNvSpPr/>
          <p:nvPr/>
        </p:nvSpPr>
        <p:spPr>
          <a:xfrm>
            <a:off x="902675" y="1397001"/>
            <a:ext cx="308144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阿里巴巴普惠体 R" panose="00020600040101010101"/>
                <a:cs typeface="+mn-cs"/>
              </a:rPr>
              <a:t>强化学习基础部分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90C5F941-010B-4E6A-B42B-E0A68B592CA6}"/>
              </a:ext>
            </a:extLst>
          </p:cNvPr>
          <p:cNvSpPr/>
          <p:nvPr/>
        </p:nvSpPr>
        <p:spPr>
          <a:xfrm>
            <a:off x="5400966" y="1397001"/>
            <a:ext cx="2646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阿里巴巴普惠体 R" panose="00020600040101010101"/>
                <a:cs typeface="+mn-cs"/>
              </a:rPr>
              <a:t>强化学习前沿部分</a:t>
            </a:r>
          </a:p>
        </p:txBody>
      </p:sp>
    </p:spTree>
    <p:extLst>
      <p:ext uri="{BB962C8B-B14F-4D97-AF65-F5344CB8AC3E}">
        <p14:creationId xmlns:p14="http://schemas.microsoft.com/office/powerpoint/2010/main" val="36996091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深度强化学习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43792E9C-764B-42D6-A90D-91F1F8E90BA1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en-US" altLang="zh-CN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243330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价值和策略近似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3635" y="5484227"/>
            <a:ext cx="8487445" cy="11636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假如我们直接使用深度神经网络建立这些近似函数呢？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6" name="组合 12">
            <a:extLst>
              <a:ext uri="{FF2B5EF4-FFF2-40B4-BE49-F238E27FC236}">
                <a16:creationId xmlns:a16="http://schemas.microsoft.com/office/drawing/2014/main" id="{354FCD2A-2B7A-4CFA-A7EB-7FD38E6E8256}"/>
              </a:ext>
            </a:extLst>
          </p:cNvPr>
          <p:cNvGrpSpPr/>
          <p:nvPr/>
        </p:nvGrpSpPr>
        <p:grpSpPr>
          <a:xfrm>
            <a:off x="503635" y="1619279"/>
            <a:ext cx="8101346" cy="2974406"/>
            <a:chOff x="763089" y="1804988"/>
            <a:chExt cx="9198714" cy="3377304"/>
          </a:xfrm>
        </p:grpSpPr>
        <p:pic>
          <p:nvPicPr>
            <p:cNvPr id="9" name="内容占位符 7">
              <a:extLst>
                <a:ext uri="{FF2B5EF4-FFF2-40B4-BE49-F238E27FC236}">
                  <a16:creationId xmlns:a16="http://schemas.microsoft.com/office/drawing/2014/main" id="{C1976DA3-A7D8-4778-BA06-B86A2AC0DC8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63089" y="1804988"/>
              <a:ext cx="4267198" cy="3377304"/>
            </a:xfrm>
            <a:prstGeom prst="rect">
              <a:avLst/>
            </a:prstGeom>
          </p:spPr>
        </p:pic>
        <p:pic>
          <p:nvPicPr>
            <p:cNvPr id="15" name="内容占位符 7">
              <a:extLst>
                <a:ext uri="{FF2B5EF4-FFF2-40B4-BE49-F238E27FC236}">
                  <a16:creationId xmlns:a16="http://schemas.microsoft.com/office/drawing/2014/main" id="{C09C49A4-2BEF-4648-8A3D-D63B5CDBE5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57299"/>
            <a:stretch/>
          </p:blipFill>
          <p:spPr>
            <a:xfrm>
              <a:off x="5697297" y="1804988"/>
              <a:ext cx="1822121" cy="3377304"/>
            </a:xfrm>
            <a:prstGeom prst="rect">
              <a:avLst/>
            </a:prstGeom>
          </p:spPr>
        </p:pic>
        <p:pic>
          <p:nvPicPr>
            <p:cNvPr id="16" name="内容占位符 7">
              <a:extLst>
                <a:ext uri="{FF2B5EF4-FFF2-40B4-BE49-F238E27FC236}">
                  <a16:creationId xmlns:a16="http://schemas.microsoft.com/office/drawing/2014/main" id="{56896699-A1D8-408E-ADAE-15C38DF53B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57299"/>
            <a:stretch/>
          </p:blipFill>
          <p:spPr>
            <a:xfrm>
              <a:off x="8139681" y="1804988"/>
              <a:ext cx="1822122" cy="3377304"/>
            </a:xfrm>
            <a:prstGeom prst="rect">
              <a:avLst/>
            </a:prstGeom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9A4FC08C-BFD7-45F4-9587-2C4C9263F579}"/>
                  </a:ext>
                </a:extLst>
              </p:cNvPr>
              <p:cNvSpPr txBox="1"/>
              <p:nvPr/>
            </p:nvSpPr>
            <p:spPr>
              <a:xfrm>
                <a:off x="986319" y="1245715"/>
                <a:ext cx="78880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9A4FC08C-BFD7-45F4-9587-2C4C9263F5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6319" y="1245715"/>
                <a:ext cx="788806" cy="369332"/>
              </a:xfrm>
              <a:prstGeom prst="rect">
                <a:avLst/>
              </a:prstGeom>
              <a:blipFill>
                <a:blip r:embed="rId5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94B4B4AB-1087-427D-9704-6087415CD68F}"/>
                  </a:ext>
                </a:extLst>
              </p:cNvPr>
              <p:cNvSpPr txBox="1"/>
              <p:nvPr/>
            </p:nvSpPr>
            <p:spPr>
              <a:xfrm>
                <a:off x="3033598" y="1245715"/>
                <a:ext cx="104381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94B4B4AB-1087-427D-9704-6087415CD68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33598" y="1245715"/>
                <a:ext cx="1043812" cy="369332"/>
              </a:xfrm>
              <a:prstGeom prst="rect">
                <a:avLst/>
              </a:prstGeom>
              <a:blipFill>
                <a:blip r:embed="rId6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F7DFCE6E-66F3-474D-BE47-C7BF1653CF2B}"/>
                  </a:ext>
                </a:extLst>
              </p:cNvPr>
              <p:cNvSpPr txBox="1"/>
              <p:nvPr/>
            </p:nvSpPr>
            <p:spPr>
              <a:xfrm>
                <a:off x="5129682" y="1222662"/>
                <a:ext cx="101906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F7DFCE6E-66F3-474D-BE47-C7BF1653CF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29682" y="1222662"/>
                <a:ext cx="1019062" cy="369332"/>
              </a:xfrm>
              <a:prstGeom prst="rect">
                <a:avLst/>
              </a:prstGeom>
              <a:blipFill>
                <a:blip r:embed="rId7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A5A77D1A-2D18-4DA2-A831-7DF398EEEBAB}"/>
                  </a:ext>
                </a:extLst>
              </p:cNvPr>
              <p:cNvSpPr txBox="1"/>
              <p:nvPr/>
            </p:nvSpPr>
            <p:spPr>
              <a:xfrm>
                <a:off x="7611271" y="1222662"/>
                <a:ext cx="38266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A5A77D1A-2D18-4DA2-A831-7DF398EEEBA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11271" y="1222662"/>
                <a:ext cx="382669" cy="36933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7870E29-DB90-492F-873C-48FE66167352}"/>
                  </a:ext>
                </a:extLst>
              </p:cNvPr>
              <p:cNvSpPr txBox="1"/>
              <p:nvPr/>
            </p:nvSpPr>
            <p:spPr>
              <a:xfrm>
                <a:off x="1116292" y="3244334"/>
                <a:ext cx="38536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𝜃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7870E29-DB90-492F-873C-48FE661673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16292" y="3244334"/>
                <a:ext cx="385362" cy="36933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A4FAC8CA-FC0E-4C2B-93B2-00DF6192E302}"/>
                  </a:ext>
                </a:extLst>
              </p:cNvPr>
              <p:cNvSpPr txBox="1"/>
              <p:nvPr/>
            </p:nvSpPr>
            <p:spPr>
              <a:xfrm>
                <a:off x="3272152" y="3244334"/>
                <a:ext cx="38536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𝜃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A4FAC8CA-FC0E-4C2B-93B2-00DF6192E30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72152" y="3244334"/>
                <a:ext cx="385362" cy="369332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E5293785-2CF8-49C2-89C6-EEF3F79E6D1E}"/>
                  </a:ext>
                </a:extLst>
              </p:cNvPr>
              <p:cNvSpPr txBox="1"/>
              <p:nvPr/>
            </p:nvSpPr>
            <p:spPr>
              <a:xfrm>
                <a:off x="5428012" y="3244334"/>
                <a:ext cx="38536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𝜃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E5293785-2CF8-49C2-89C6-EEF3F79E6D1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28012" y="3244334"/>
                <a:ext cx="385362" cy="369332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19384E06-EC03-4201-9CEA-6FB5463504E2}"/>
                  </a:ext>
                </a:extLst>
              </p:cNvPr>
              <p:cNvSpPr txBox="1"/>
              <p:nvPr/>
            </p:nvSpPr>
            <p:spPr>
              <a:xfrm>
                <a:off x="7620479" y="3244334"/>
                <a:ext cx="38536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𝜃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19384E06-EC03-4201-9CEA-6FB5463504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0479" y="3244334"/>
                <a:ext cx="385362" cy="369332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C6F1C53B-20FF-4620-B843-DB106B100117}"/>
                  </a:ext>
                </a:extLst>
              </p:cNvPr>
              <p:cNvSpPr txBox="1"/>
              <p:nvPr/>
            </p:nvSpPr>
            <p:spPr>
              <a:xfrm>
                <a:off x="1116179" y="4592972"/>
                <a:ext cx="36093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𝑠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C6F1C53B-20FF-4620-B843-DB106B1001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16179" y="4592972"/>
                <a:ext cx="360933" cy="369332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9FECA721-BF95-4D4E-96AE-31AD2C930761}"/>
                  </a:ext>
                </a:extLst>
              </p:cNvPr>
              <p:cNvSpPr txBox="1"/>
              <p:nvPr/>
            </p:nvSpPr>
            <p:spPr>
              <a:xfrm>
                <a:off x="2911219" y="4592972"/>
                <a:ext cx="36093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𝑠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9FECA721-BF95-4D4E-96AE-31AD2C9307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11219" y="4592972"/>
                <a:ext cx="360933" cy="369332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F0FFD741-63AF-4328-8277-79C2A461400B}"/>
                  </a:ext>
                </a:extLst>
              </p:cNvPr>
              <p:cNvSpPr txBox="1"/>
              <p:nvPr/>
            </p:nvSpPr>
            <p:spPr>
              <a:xfrm>
                <a:off x="3657514" y="4590434"/>
                <a:ext cx="38266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F0FFD741-63AF-4328-8277-79C2A461400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7514" y="4590434"/>
                <a:ext cx="382669" cy="369332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1EB8D63D-899D-4553-940C-A2FC1657173A}"/>
                  </a:ext>
                </a:extLst>
              </p:cNvPr>
              <p:cNvSpPr txBox="1"/>
              <p:nvPr/>
            </p:nvSpPr>
            <p:spPr>
              <a:xfrm>
                <a:off x="5473831" y="4585260"/>
                <a:ext cx="36093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𝑠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1EB8D63D-899D-4553-940C-A2FC165717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73831" y="4585260"/>
                <a:ext cx="360933" cy="369332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BA832031-60F6-47AF-A52F-83E3F622B76E}"/>
                  </a:ext>
                </a:extLst>
              </p:cNvPr>
              <p:cNvSpPr txBox="1"/>
              <p:nvPr/>
            </p:nvSpPr>
            <p:spPr>
              <a:xfrm>
                <a:off x="7620479" y="4529696"/>
                <a:ext cx="36093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𝑠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BA832031-60F6-47AF-A52F-83E3F622B7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0479" y="4529696"/>
                <a:ext cx="360933" cy="369332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5" name="文本框 21">
            <a:extLst>
              <a:ext uri="{FF2B5EF4-FFF2-40B4-BE49-F238E27FC236}">
                <a16:creationId xmlns:a16="http://schemas.microsoft.com/office/drawing/2014/main" id="{7BF8D5BF-C0AC-414E-98AE-362253E91D70}"/>
              </a:ext>
            </a:extLst>
          </p:cNvPr>
          <p:cNvSpPr txBox="1"/>
          <p:nvPr/>
        </p:nvSpPr>
        <p:spPr>
          <a:xfrm>
            <a:off x="726890" y="4897880"/>
            <a:ext cx="36471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状态值函数和状态动作值函数近似</a:t>
            </a:r>
            <a:endParaRPr lang="en-US" dirty="0"/>
          </a:p>
        </p:txBody>
      </p:sp>
      <p:sp>
        <p:nvSpPr>
          <p:cNvPr id="36" name="文本框 21">
            <a:extLst>
              <a:ext uri="{FF2B5EF4-FFF2-40B4-BE49-F238E27FC236}">
                <a16:creationId xmlns:a16="http://schemas.microsoft.com/office/drawing/2014/main" id="{C74DA904-75AD-4F82-94E7-B81948CA1FF7}"/>
              </a:ext>
            </a:extLst>
          </p:cNvPr>
          <p:cNvSpPr txBox="1"/>
          <p:nvPr/>
        </p:nvSpPr>
        <p:spPr>
          <a:xfrm>
            <a:off x="4898549" y="4899133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随机策略近似</a:t>
            </a:r>
            <a:endParaRPr lang="en-US" dirty="0"/>
          </a:p>
        </p:txBody>
      </p:sp>
      <p:sp>
        <p:nvSpPr>
          <p:cNvPr id="37" name="文本框 21">
            <a:extLst>
              <a:ext uri="{FF2B5EF4-FFF2-40B4-BE49-F238E27FC236}">
                <a16:creationId xmlns:a16="http://schemas.microsoft.com/office/drawing/2014/main" id="{773F18F4-D876-49D1-B5FE-8F4D4BF8E686}"/>
              </a:ext>
            </a:extLst>
          </p:cNvPr>
          <p:cNvSpPr txBox="1"/>
          <p:nvPr/>
        </p:nvSpPr>
        <p:spPr>
          <a:xfrm>
            <a:off x="6934553" y="4897880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确定性策略近似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65793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端到端强化学习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pic>
        <p:nvPicPr>
          <p:cNvPr id="6" name="内容占位符 3">
            <a:extLst>
              <a:ext uri="{FF2B5EF4-FFF2-40B4-BE49-F238E27FC236}">
                <a16:creationId xmlns:a16="http://schemas.microsoft.com/office/drawing/2014/main" id="{78C8360F-5227-4A02-8291-4FC9818A8A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4808" y="1115218"/>
            <a:ext cx="6834852" cy="462756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96DAC4A-1B45-41DA-8C93-B8D91C0976BA}"/>
              </a:ext>
            </a:extLst>
          </p:cNvPr>
          <p:cNvSpPr txBox="1"/>
          <p:nvPr/>
        </p:nvSpPr>
        <p:spPr>
          <a:xfrm>
            <a:off x="523982" y="1356189"/>
            <a:ext cx="14608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ea typeface="阿里巴巴普惠体 R" panose="00020600040101010101"/>
              </a:rPr>
              <a:t>标准（传统）</a:t>
            </a:r>
            <a:endParaRPr lang="en-US" altLang="zh-CN" dirty="0">
              <a:ea typeface="阿里巴巴普惠体 R" panose="00020600040101010101"/>
            </a:endParaRPr>
          </a:p>
          <a:p>
            <a:pPr algn="ctr"/>
            <a:r>
              <a:rPr lang="zh-CN" altLang="en-US" dirty="0">
                <a:ea typeface="阿里巴巴普惠体 R" panose="00020600040101010101"/>
              </a:rPr>
              <a:t>计算机视觉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65B5E8-B707-43DB-BB9D-4E187B9F3D47}"/>
              </a:ext>
            </a:extLst>
          </p:cNvPr>
          <p:cNvSpPr txBox="1"/>
          <p:nvPr/>
        </p:nvSpPr>
        <p:spPr>
          <a:xfrm>
            <a:off x="645980" y="2521517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ea typeface="阿里巴巴普惠体 R" panose="00020600040101010101"/>
              </a:rPr>
              <a:t>深度学习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899255-48C2-46AC-82A5-FC02041CE4EA}"/>
              </a:ext>
            </a:extLst>
          </p:cNvPr>
          <p:cNvSpPr txBox="1"/>
          <p:nvPr/>
        </p:nvSpPr>
        <p:spPr>
          <a:xfrm>
            <a:off x="466448" y="3817338"/>
            <a:ext cx="15696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ea typeface="阿里巴巴普惠体 R" panose="00020600040101010101"/>
              </a:rPr>
              <a:t>标准（传统）</a:t>
            </a:r>
            <a:endParaRPr lang="en-US" altLang="zh-CN" dirty="0">
              <a:ea typeface="阿里巴巴普惠体 R" panose="00020600040101010101"/>
            </a:endParaRPr>
          </a:p>
          <a:p>
            <a:pPr algn="ctr"/>
            <a:r>
              <a:rPr lang="zh-CN" altLang="en-US" dirty="0">
                <a:ea typeface="阿里巴巴普惠体 R" panose="00020600040101010101"/>
              </a:rPr>
              <a:t>强化学习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87BFFDA-5BEA-47F4-A0C2-7066F7E63368}"/>
              </a:ext>
            </a:extLst>
          </p:cNvPr>
          <p:cNvSpPr txBox="1"/>
          <p:nvPr/>
        </p:nvSpPr>
        <p:spPr>
          <a:xfrm>
            <a:off x="404638" y="5019177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ea typeface="阿里巴巴普惠体 R" panose="00020600040101010101"/>
              </a:rPr>
              <a:t>深度强化学习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586C4447-8DDC-4618-A4C3-901CC20EE446}"/>
              </a:ext>
            </a:extLst>
          </p:cNvPr>
          <p:cNvSpPr/>
          <p:nvPr/>
        </p:nvSpPr>
        <p:spPr>
          <a:xfrm>
            <a:off x="415148" y="5742781"/>
            <a:ext cx="85608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00B0F0"/>
                </a:solidFill>
                <a:ea typeface="阿里巴巴普惠体 R" panose="00020600040101010101"/>
              </a:rPr>
              <a:t>深度强化学习使强化学习算法能够以端到端的方式解决复杂问题</a:t>
            </a:r>
            <a:endParaRPr lang="en-US" dirty="0">
              <a:solidFill>
                <a:srgbClr val="00B0F0"/>
              </a:solidFill>
              <a:ea typeface="阿里巴巴普惠体 R" panose="00020600040101010101"/>
            </a:endParaRPr>
          </a:p>
        </p:txBody>
      </p:sp>
      <p:sp>
        <p:nvSpPr>
          <p:cNvPr id="11" name="页脚占位符 2">
            <a:extLst>
              <a:ext uri="{FF2B5EF4-FFF2-40B4-BE49-F238E27FC236}">
                <a16:creationId xmlns:a16="http://schemas.microsoft.com/office/drawing/2014/main" id="{52A182FE-5D16-4E3C-9D0F-9461B70144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468431" y="6240464"/>
            <a:ext cx="7385660" cy="206381"/>
          </a:xfrm>
        </p:spPr>
        <p:txBody>
          <a:bodyPr/>
          <a:lstStyle/>
          <a:p>
            <a:pPr algn="ctr"/>
            <a:r>
              <a:rPr lang="en-US" altLang="zh-CN" dirty="0"/>
              <a:t>Slide from Sergey Levine. http://rail.eecs.berkeley.edu/deeprlcourse/static/slides/lec-1.pdf</a:t>
            </a:r>
          </a:p>
        </p:txBody>
      </p:sp>
    </p:spTree>
    <p:extLst>
      <p:ext uri="{BB962C8B-B14F-4D97-AF65-F5344CB8AC3E}">
        <p14:creationId xmlns:p14="http://schemas.microsoft.com/office/powerpoint/2010/main" val="11995356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深度强化学习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2" y="1219983"/>
            <a:ext cx="8487445" cy="13637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深度强化学习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利用深度神经网络进行价值函数和策略近似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从而使强化学习算法能够以端到端的方式解决复杂问题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6" name="内容占位符 3">
            <a:extLst>
              <a:ext uri="{FF2B5EF4-FFF2-40B4-BE49-F238E27FC236}">
                <a16:creationId xmlns:a16="http://schemas.microsoft.com/office/drawing/2014/main" id="{87C55E99-D098-4C73-A4C6-E7EEB196F1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42" y="2867072"/>
            <a:ext cx="3529874" cy="2647406"/>
          </a:xfrm>
          <a:prstGeom prst="rect">
            <a:avLst/>
          </a:prstGeom>
        </p:spPr>
      </p:pic>
      <p:pic>
        <p:nvPicPr>
          <p:cNvPr id="7" name="图片 4">
            <a:extLst>
              <a:ext uri="{FF2B5EF4-FFF2-40B4-BE49-F238E27FC236}">
                <a16:creationId xmlns:a16="http://schemas.microsoft.com/office/drawing/2014/main" id="{D369C633-9CE7-4656-9EB5-3761040D21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6666" y="2774995"/>
            <a:ext cx="4718236" cy="2739483"/>
          </a:xfrm>
          <a:prstGeom prst="rect">
            <a:avLst/>
          </a:prstGeom>
        </p:spPr>
      </p:pic>
      <p:sp>
        <p:nvSpPr>
          <p:cNvPr id="8" name="页脚占位符 2">
            <a:extLst>
              <a:ext uri="{FF2B5EF4-FFF2-40B4-BE49-F238E27FC236}">
                <a16:creationId xmlns:a16="http://schemas.microsoft.com/office/drawing/2014/main" id="{3F030CF7-CF90-4195-91B5-3082D3A8F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2" y="6343654"/>
            <a:ext cx="7385660" cy="206381"/>
          </a:xfrm>
        </p:spPr>
        <p:txBody>
          <a:bodyPr/>
          <a:lstStyle/>
          <a:p>
            <a:r>
              <a:rPr lang="en-US" altLang="zh-CN" dirty="0"/>
              <a:t>Volodymyr </a:t>
            </a:r>
            <a:r>
              <a:rPr lang="en-US" altLang="zh-CN" dirty="0" err="1"/>
              <a:t>Mnih</a:t>
            </a:r>
            <a:r>
              <a:rPr lang="en-US" altLang="zh-CN" dirty="0"/>
              <a:t>, </a:t>
            </a:r>
            <a:r>
              <a:rPr lang="en-US" altLang="zh-CN" dirty="0" err="1"/>
              <a:t>Koray</a:t>
            </a:r>
            <a:r>
              <a:rPr lang="en-US" altLang="zh-CN" dirty="0"/>
              <a:t> </a:t>
            </a:r>
            <a:r>
              <a:rPr lang="en-US" altLang="zh-CN" dirty="0" err="1"/>
              <a:t>Kavukcuoglu</a:t>
            </a:r>
            <a:r>
              <a:rPr lang="en-US" altLang="zh-CN" dirty="0"/>
              <a:t>, David Silver et al. </a:t>
            </a:r>
          </a:p>
          <a:p>
            <a:r>
              <a:rPr lang="en-US" altLang="zh-CN" dirty="0"/>
              <a:t>Playing Atari with Deep Reinforcement Learning. NIPS 2013 workshop.</a:t>
            </a:r>
          </a:p>
        </p:txBody>
      </p:sp>
    </p:spTree>
    <p:extLst>
      <p:ext uri="{BB962C8B-B14F-4D97-AF65-F5344CB8AC3E}">
        <p14:creationId xmlns:p14="http://schemas.microsoft.com/office/powerpoint/2010/main" val="27912286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深度强化学习带来的关键变化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2" y="1219983"/>
            <a:ext cx="8487445" cy="4936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假如将深度学习（</a:t>
            </a:r>
            <a:r>
              <a:rPr lang="en-US" altLang="zh-CN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L</a:t>
            </a:r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和强化学习（</a:t>
            </a:r>
            <a:r>
              <a:rPr lang="en-US" altLang="zh-CN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RL</a:t>
            </a:r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结合在一起会发生什么？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价值函数和策略现在变成了深度神经网络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相当高维的参数空间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难以稳定地训练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容易过拟合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需要大量的数据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需要高性能计算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PU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（用于收集经验数据）和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GPU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（用于训练神经网络）之间的平衡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…</a:t>
            </a:r>
          </a:p>
          <a:p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 algn="ctr">
              <a:buNone/>
            </a:pPr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这些新的问题促进着深度强化学习算法的创新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453309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0.4|9.2|11.3|14.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0.4|9.2|11.3|14.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2|95.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.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.3"/>
</p:tagLst>
</file>

<file path=ppt/theme/theme1.xml><?xml version="1.0" encoding="utf-8"?>
<a:theme xmlns:a="http://schemas.openxmlformats.org/drawingml/2006/main" name="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7824</TotalTime>
  <Words>2275</Words>
  <Application>Microsoft Office PowerPoint</Application>
  <PresentationFormat>全屏显示(4:3)</PresentationFormat>
  <Paragraphs>329</Paragraphs>
  <Slides>38</Slides>
  <Notes>8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8</vt:i4>
      </vt:variant>
    </vt:vector>
  </HeadingPairs>
  <TitlesOfParts>
    <vt:vector size="50" baseType="lpstr">
      <vt:lpstr>Alibaba PuHuiTi</vt:lpstr>
      <vt:lpstr>NimbusRomNo9L-Regu</vt:lpstr>
      <vt:lpstr>阿里巴巴普惠体 B</vt:lpstr>
      <vt:lpstr>阿里巴巴普惠体 R</vt:lpstr>
      <vt:lpstr>Microsoft YaHei</vt:lpstr>
      <vt:lpstr>Arial</vt:lpstr>
      <vt:lpstr>Calibri</vt:lpstr>
      <vt:lpstr>Cambria Math</vt:lpstr>
      <vt:lpstr>Wingdings</vt:lpstr>
      <vt:lpstr>主题5</vt:lpstr>
      <vt:lpstr>2_主题5</vt:lpstr>
      <vt:lpstr>think-cell Slide</vt:lpstr>
      <vt:lpstr>PowerPoint 演示文稿</vt:lpstr>
      <vt:lpstr>课程回顾：基于表格的强化学习</vt:lpstr>
      <vt:lpstr>课程回顾：价值和策略的近似逼近方法</vt:lpstr>
      <vt:lpstr>课程大纲</vt:lpstr>
      <vt:lpstr>PowerPoint 演示文稿</vt:lpstr>
      <vt:lpstr>价值和策略近似</vt:lpstr>
      <vt:lpstr>端到端强化学习</vt:lpstr>
      <vt:lpstr>深度强化学习</vt:lpstr>
      <vt:lpstr>深度强化学习带来的关键变化</vt:lpstr>
      <vt:lpstr>深度强化学习的分类</vt:lpstr>
      <vt:lpstr>PowerPoint 演示文稿</vt:lpstr>
      <vt:lpstr>PowerPoint 演示文稿</vt:lpstr>
      <vt:lpstr>深度Q网络（DQN）</vt:lpstr>
      <vt:lpstr>Q 学习回顾</vt:lpstr>
      <vt:lpstr>深度Q网络（DQN）</vt:lpstr>
      <vt:lpstr>经验回放</vt:lpstr>
      <vt:lpstr>经验回放</vt:lpstr>
      <vt:lpstr>目标网络</vt:lpstr>
      <vt:lpstr>算法流程</vt:lpstr>
      <vt:lpstr>在 Atari 环境中的实验结果</vt:lpstr>
      <vt:lpstr>Double DQN</vt:lpstr>
      <vt:lpstr>Q-learning中的过估计</vt:lpstr>
      <vt:lpstr>Q-learning中的过估计</vt:lpstr>
      <vt:lpstr>Q-learning中过估计的例子</vt:lpstr>
      <vt:lpstr>Double DQN</vt:lpstr>
      <vt:lpstr>在 Atari 环境中的实验结果</vt:lpstr>
      <vt:lpstr>Dueling DQN</vt:lpstr>
      <vt:lpstr>Dueling DQN</vt:lpstr>
      <vt:lpstr>Dueling DQN</vt:lpstr>
      <vt:lpstr>网络结构</vt:lpstr>
      <vt:lpstr>优点</vt:lpstr>
      <vt:lpstr>探索任务：走廊环境</vt:lpstr>
      <vt:lpstr>在 Atari 环境中的实验结果I</vt:lpstr>
      <vt:lpstr>在 Atari 环境中的实验结果II</vt:lpstr>
      <vt:lpstr>复习之前的深度强化学习算法</vt:lpstr>
      <vt:lpstr>Rainbow: 结合众多Value-based DRL方法</vt:lpstr>
      <vt:lpstr>深度强化学习总结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7-深度强化学习价值方法</dc:title>
  <dc:creator>Weinan Zhang</dc:creator>
  <cp:lastModifiedBy>Zhang Weinan</cp:lastModifiedBy>
  <cp:revision>248</cp:revision>
  <cp:lastPrinted>2019-07-12T11:51:00Z</cp:lastPrinted>
  <dcterms:created xsi:type="dcterms:W3CDTF">2019-04-27T16:00:00Z</dcterms:created>
  <dcterms:modified xsi:type="dcterms:W3CDTF">2022-05-16T09:2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698</vt:lpwstr>
  </property>
</Properties>
</file>